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38" r:id="rId1"/>
  </p:sldMasterIdLst>
  <p:notesMasterIdLst>
    <p:notesMasterId r:id="rId11"/>
  </p:notesMasterIdLst>
  <p:handoutMasterIdLst>
    <p:handoutMasterId r:id="rId12"/>
  </p:handoutMasterIdLst>
  <p:sldIdLst>
    <p:sldId id="257" r:id="rId2"/>
    <p:sldId id="288" r:id="rId3"/>
    <p:sldId id="259" r:id="rId4"/>
    <p:sldId id="306" r:id="rId5"/>
    <p:sldId id="307" r:id="rId6"/>
    <p:sldId id="304" r:id="rId7"/>
    <p:sldId id="305" r:id="rId8"/>
    <p:sldId id="302" r:id="rId9"/>
    <p:sldId id="291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BAC6"/>
    <a:srgbClr val="939598"/>
    <a:srgbClr val="AAA9B4"/>
    <a:srgbClr val="FFCC99"/>
    <a:srgbClr val="FFFFFF"/>
    <a:srgbClr val="DDF9B8"/>
    <a:srgbClr val="5D5B6F"/>
    <a:srgbClr val="14CE9F"/>
    <a:srgbClr val="F2F2F2"/>
    <a:srgbClr val="F6F6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839" autoAdjust="0"/>
    <p:restoredTop sz="95604" autoAdjust="0"/>
  </p:normalViewPr>
  <p:slideViewPr>
    <p:cSldViewPr snapToGrid="0" showGuides="1">
      <p:cViewPr varScale="1">
        <p:scale>
          <a:sx n="110" d="100"/>
          <a:sy n="110" d="100"/>
        </p:scale>
        <p:origin x="22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6/2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6/2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947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540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950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0450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723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61816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415592" y="6400892"/>
            <a:ext cx="25202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© 2018 </a:t>
            </a:r>
            <a:r>
              <a:rPr lang="en-US" sz="9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j-lt"/>
              </a:rPr>
              <a:t>Slidefabric.com</a:t>
            </a:r>
            <a:r>
              <a:rPr lang="en-US" sz="9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j-lt"/>
              </a:rPr>
              <a:t> All rights reserved.</a:t>
            </a:r>
            <a:endParaRPr lang="en-US" sz="900" b="0" i="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1459134" y="6331642"/>
            <a:ext cx="482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FF971EA-3A6D-44E0-AE21-1C9457776B3F}" type="slidenum">
              <a:rPr lang="en-US" sz="1800" smtClean="0">
                <a:latin typeface="+mj-lt"/>
              </a:rPr>
              <a:pPr algn="ctr"/>
              <a:t>‹#›</a:t>
            </a:fld>
            <a:endParaRPr lang="en-US" sz="1600" dirty="0"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 rot="900000">
            <a:off x="11338841" y="6154604"/>
            <a:ext cx="723409" cy="723409"/>
          </a:xfrm>
          <a:prstGeom prst="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7752DFED-9BE1-46A5-81AE-B0130748EE73}"/>
              </a:ext>
            </a:extLst>
          </p:cNvPr>
          <p:cNvSpPr/>
          <p:nvPr userDrawn="1"/>
        </p:nvSpPr>
        <p:spPr>
          <a:xfrm>
            <a:off x="1719473" y="932990"/>
            <a:ext cx="3989645" cy="3989645"/>
          </a:xfrm>
          <a:prstGeom prst="frame">
            <a:avLst>
              <a:gd name="adj1" fmla="val 1429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1904CE9-FC93-4C19-8291-B3B6C853B97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70764" y="1475302"/>
            <a:ext cx="3989645" cy="3989645"/>
          </a:xfrm>
          <a:solidFill>
            <a:schemeClr val="accent2"/>
          </a:solidFill>
        </p:spPr>
      </p:sp>
    </p:spTree>
    <p:extLst>
      <p:ext uri="{BB962C8B-B14F-4D97-AF65-F5344CB8AC3E}">
        <p14:creationId xmlns:p14="http://schemas.microsoft.com/office/powerpoint/2010/main" val="4124868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15592" y="6400892"/>
            <a:ext cx="26452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0" i="0" dirty="0">
                <a:solidFill>
                  <a:schemeClr val="bg1"/>
                </a:solidFill>
                <a:effectLst/>
                <a:latin typeface="+mn-lt"/>
              </a:rPr>
              <a:t>© 2018 </a:t>
            </a:r>
            <a:r>
              <a:rPr lang="en-US" sz="900" b="1" i="0" dirty="0">
                <a:solidFill>
                  <a:schemeClr val="bg1"/>
                </a:solidFill>
                <a:effectLst/>
                <a:latin typeface="+mj-lt"/>
              </a:rPr>
              <a:t>Slidefabric.com</a:t>
            </a:r>
            <a:r>
              <a:rPr lang="en-US" sz="900" b="0" i="0" dirty="0">
                <a:solidFill>
                  <a:schemeClr val="bg1"/>
                </a:solidFill>
                <a:effectLst/>
                <a:latin typeface="+mj-lt"/>
              </a:rPr>
              <a:t> All rights reserved.</a:t>
            </a:r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1459134" y="6331642"/>
            <a:ext cx="482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FF971EA-3A6D-44E0-AE21-1C9457776B3F}" type="slidenum">
              <a:rPr lang="en-US" sz="1800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 userDrawn="1"/>
        </p:nvSpPr>
        <p:spPr>
          <a:xfrm rot="900000">
            <a:off x="11338841" y="6154604"/>
            <a:ext cx="723409" cy="723409"/>
          </a:xfrm>
          <a:prstGeom prst="rect">
            <a:avLst/>
          </a:prstGeom>
          <a:noFill/>
          <a:ln w="571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84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4382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2403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1479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68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444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704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519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333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5A341-1614-475E-9EA0-5C2EC29F537D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011665-2E0F-4C38-A1E2-CE4AA97021CB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14EB61-C741-4A00-9FA8-75FF6BC6EC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C97704E-F014-4C04-91BC-A93EDDBB3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5424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  <p:sldLayoutId id="2147484150" r:id="rId12"/>
    <p:sldLayoutId id="2147484151" r:id="rId13"/>
    <p:sldLayoutId id="2147484152" r:id="rId14"/>
    <p:sldLayoutId id="2147483662" r:id="rId15"/>
    <p:sldLayoutId id="2147483661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1.mp4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1.mp4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microsoft.com/office/2007/relationships/media" Target="../media/media2.mp4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2.mp4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  <a:ln>
            <a:noFill/>
          </a:ln>
          <a:effectLst>
            <a:outerShdw blurRad="50800" dist="63500" dir="5400000" sx="99000" sy="99000" algn="ctr" rotWithShape="0">
              <a:srgbClr val="000000">
                <a:alpha val="65000"/>
              </a:srgbClr>
            </a:outerShdw>
          </a:effectLst>
        </p:spPr>
      </p:pic>
      <p:sp>
        <p:nvSpPr>
          <p:cNvPr id="65" name="Rectangle 64"/>
          <p:cNvSpPr/>
          <p:nvPr/>
        </p:nvSpPr>
        <p:spPr>
          <a:xfrm>
            <a:off x="-15202" y="-20663"/>
            <a:ext cx="12199601" cy="6878663"/>
          </a:xfrm>
          <a:prstGeom prst="rect">
            <a:avLst/>
          </a:prstGeom>
          <a:solidFill>
            <a:schemeClr val="tx1">
              <a:lumMod val="75000"/>
              <a:lumOff val="2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601" y="1688874"/>
            <a:ext cx="10033974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sz="4800" kern="2000" dirty="0">
                <a:latin typeface="Montserrat" panose="00000500000000000000" pitchFamily="2" charset="-18"/>
              </a:rPr>
              <a:t>ПРОИЗВОДСТВЕННАЯ ПРАКТИКА</a:t>
            </a:r>
            <a:endParaRPr lang="en-US" sz="4800" kern="2000" dirty="0">
              <a:latin typeface="Montserrat" panose="00000500000000000000" pitchFamily="2" charset="-18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451149" y="4762743"/>
            <a:ext cx="7408907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3216144" y="4820385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2824949" y="2392031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3C503B-4E61-4FB8-8517-AD0DAF87D4B6}"/>
              </a:ext>
            </a:extLst>
          </p:cNvPr>
          <p:cNvSpPr txBox="1"/>
          <p:nvPr/>
        </p:nvSpPr>
        <p:spPr>
          <a:xfrm>
            <a:off x="-1639606" y="4684450"/>
            <a:ext cx="8809199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dirty="0">
                <a:latin typeface="Montserrat" panose="00000500000000000000" pitchFamily="2" charset="-18"/>
              </a:rPr>
              <a:t>Выполнила: Демина Евгения ИСП-21</a:t>
            </a:r>
            <a:endParaRPr lang="en-US" kern="2000" dirty="0">
              <a:latin typeface="Montserrat" panose="00000500000000000000" pitchFamily="2" charset="-1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3FD917-FF36-41D2-AB9D-C77E0E1D3A30}"/>
              </a:ext>
            </a:extLst>
          </p:cNvPr>
          <p:cNvSpPr txBox="1"/>
          <p:nvPr/>
        </p:nvSpPr>
        <p:spPr>
          <a:xfrm>
            <a:off x="836106" y="5714313"/>
            <a:ext cx="44485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уководитель : Суханцев Вадим Андреевич</a:t>
            </a:r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71" grpId="0" animBg="1"/>
      <p:bldP spid="72" grpId="0" animBg="1"/>
      <p:bldP spid="73" grpId="0" animBg="1"/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60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 flipH="1">
            <a:off x="6039757" y="-7257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 flipH="1">
            <a:off x="5969655" y="68367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14"/>
          <p:cNvSpPr/>
          <p:nvPr/>
        </p:nvSpPr>
        <p:spPr>
          <a:xfrm flipH="1">
            <a:off x="908297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780354" y="1160848"/>
            <a:ext cx="4116386" cy="34282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ru-RU" sz="3200" dirty="0"/>
              <a:t>ЦОПП — это агрегатор программ опережающей подготовки по востребованным в регионе и перспективным компетенциям на уровне, соответствующем стандартам </a:t>
            </a:r>
            <a:r>
              <a:rPr lang="ru-RU" sz="3200" dirty="0" err="1"/>
              <a:t>WorldSkills</a:t>
            </a:r>
            <a:endParaRPr lang="ru-RU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>
              <a:lnSpc>
                <a:spcPts val="2000"/>
              </a:lnSpc>
            </a:pPr>
            <a:endParaRPr lang="en-US" sz="32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73" name="Rectangle 14"/>
          <p:cNvSpPr/>
          <p:nvPr/>
        </p:nvSpPr>
        <p:spPr>
          <a:xfrm rot="5400000">
            <a:off x="1294398" y="35125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14"/>
          <p:cNvSpPr/>
          <p:nvPr/>
        </p:nvSpPr>
        <p:spPr>
          <a:xfrm flipH="1">
            <a:off x="907299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8E6885-8E64-46C1-AA3B-383EAF7DEC69}"/>
              </a:ext>
            </a:extLst>
          </p:cNvPr>
          <p:cNvSpPr txBox="1"/>
          <p:nvPr/>
        </p:nvSpPr>
        <p:spPr>
          <a:xfrm>
            <a:off x="1512831" y="228683"/>
            <a:ext cx="73291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О организации «Центр опережающий профессиональной подготовки»</a:t>
            </a:r>
          </a:p>
          <a:p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C2058FF-1BCD-445C-A8C7-9B3FFF7D53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1362" y="2868589"/>
            <a:ext cx="4103295" cy="2450948"/>
          </a:xfrm>
          <a:prstGeom prst="rect">
            <a:avLst/>
          </a:prstGeom>
        </p:spPr>
      </p:pic>
      <p:sp>
        <p:nvSpPr>
          <p:cNvPr id="13" name="Rectangle 64">
            <a:extLst>
              <a:ext uri="{FF2B5EF4-FFF2-40B4-BE49-F238E27FC236}">
                <a16:creationId xmlns:a16="http://schemas.microsoft.com/office/drawing/2014/main" id="{1BEFDCFE-5B51-4655-809D-0CDCC01CD957}"/>
              </a:ext>
            </a:extLst>
          </p:cNvPr>
          <p:cNvSpPr/>
          <p:nvPr/>
        </p:nvSpPr>
        <p:spPr>
          <a:xfrm>
            <a:off x="-15202" y="-20663"/>
            <a:ext cx="12199601" cy="6878663"/>
          </a:xfrm>
          <a:prstGeom prst="rect">
            <a:avLst/>
          </a:prstGeom>
          <a:solidFill>
            <a:schemeClr val="bg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6848285" y="320211"/>
            <a:ext cx="50474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spc="125" dirty="0"/>
              <a:t>Диаграмма</a:t>
            </a:r>
            <a:r>
              <a:rPr lang="ru-RU" sz="5400" spc="25" dirty="0"/>
              <a:t> </a:t>
            </a:r>
            <a:r>
              <a:rPr lang="en-US" sz="5400" spc="580" dirty="0"/>
              <a:t>IDEF0</a:t>
            </a:r>
            <a:endParaRPr lang="en-US" sz="5400" spc="3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 rot="900000">
            <a:off x="7153460" y="-481705"/>
            <a:ext cx="723409" cy="723409"/>
          </a:xfrm>
          <a:prstGeom prst="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4573E68-3A49-4B92-B3F1-09E4C4E028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5293" y="6330171"/>
            <a:ext cx="380453" cy="442993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EAAAD92-1B14-4E65-B1FA-B2D064FC5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854" y="6220714"/>
            <a:ext cx="2644167" cy="552450"/>
          </a:xfrm>
          <a:prstGeom prst="rect">
            <a:avLst/>
          </a:prstGeom>
        </p:spPr>
      </p:pic>
      <p:sp>
        <p:nvSpPr>
          <p:cNvPr id="76" name="Rectangle 5">
            <a:extLst>
              <a:ext uri="{FF2B5EF4-FFF2-40B4-BE49-F238E27FC236}">
                <a16:creationId xmlns:a16="http://schemas.microsoft.com/office/drawing/2014/main" id="{CF8318DA-6690-44F0-9D6F-F4551A3D1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33449" y="1405596"/>
            <a:ext cx="173038" cy="4103688"/>
          </a:xfrm>
          <a:prstGeom prst="rect">
            <a:avLst/>
          </a:pr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6">
            <a:extLst>
              <a:ext uri="{FF2B5EF4-FFF2-40B4-BE49-F238E27FC236}">
                <a16:creationId xmlns:a16="http://schemas.microsoft.com/office/drawing/2014/main" id="{619D01D0-A713-4600-BB20-56C718DC1022}"/>
              </a:ext>
            </a:extLst>
          </p:cNvPr>
          <p:cNvSpPr>
            <a:spLocks/>
          </p:cNvSpPr>
          <p:nvPr/>
        </p:nvSpPr>
        <p:spPr bwMode="auto">
          <a:xfrm>
            <a:off x="9477761" y="2991509"/>
            <a:ext cx="633413" cy="3181350"/>
          </a:xfrm>
          <a:custGeom>
            <a:avLst/>
            <a:gdLst>
              <a:gd name="T0" fmla="*/ 292 w 399"/>
              <a:gd name="T1" fmla="*/ 0 h 2004"/>
              <a:gd name="T2" fmla="*/ 0 w 399"/>
              <a:gd name="T3" fmla="*/ 1993 h 2004"/>
              <a:gd name="T4" fmla="*/ 107 w 399"/>
              <a:gd name="T5" fmla="*/ 2004 h 2004"/>
              <a:gd name="T6" fmla="*/ 399 w 399"/>
              <a:gd name="T7" fmla="*/ 12 h 2004"/>
              <a:gd name="T8" fmla="*/ 292 w 399"/>
              <a:gd name="T9" fmla="*/ 0 h 2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2004">
                <a:moveTo>
                  <a:pt x="292" y="0"/>
                </a:moveTo>
                <a:lnTo>
                  <a:pt x="0" y="1993"/>
                </a:lnTo>
                <a:lnTo>
                  <a:pt x="107" y="2004"/>
                </a:lnTo>
                <a:lnTo>
                  <a:pt x="399" y="12"/>
                </a:lnTo>
                <a:lnTo>
                  <a:pt x="292" y="0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7">
            <a:extLst>
              <a:ext uri="{FF2B5EF4-FFF2-40B4-BE49-F238E27FC236}">
                <a16:creationId xmlns:a16="http://schemas.microsoft.com/office/drawing/2014/main" id="{5515344E-48A8-4FD6-A392-BE0613166223}"/>
              </a:ext>
            </a:extLst>
          </p:cNvPr>
          <p:cNvSpPr>
            <a:spLocks/>
          </p:cNvSpPr>
          <p:nvPr/>
        </p:nvSpPr>
        <p:spPr bwMode="auto">
          <a:xfrm>
            <a:off x="11089074" y="2991509"/>
            <a:ext cx="715963" cy="3178175"/>
          </a:xfrm>
          <a:custGeom>
            <a:avLst/>
            <a:gdLst>
              <a:gd name="T0" fmla="*/ 0 w 451"/>
              <a:gd name="T1" fmla="*/ 16 h 2002"/>
              <a:gd name="T2" fmla="*/ 344 w 451"/>
              <a:gd name="T3" fmla="*/ 2002 h 2002"/>
              <a:gd name="T4" fmla="*/ 451 w 451"/>
              <a:gd name="T5" fmla="*/ 1988 h 2002"/>
              <a:gd name="T6" fmla="*/ 107 w 451"/>
              <a:gd name="T7" fmla="*/ 0 h 2002"/>
              <a:gd name="T8" fmla="*/ 0 w 451"/>
              <a:gd name="T9" fmla="*/ 16 h 2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1" h="2002">
                <a:moveTo>
                  <a:pt x="0" y="16"/>
                </a:moveTo>
                <a:lnTo>
                  <a:pt x="344" y="2002"/>
                </a:lnTo>
                <a:lnTo>
                  <a:pt x="451" y="1988"/>
                </a:lnTo>
                <a:lnTo>
                  <a:pt x="107" y="0"/>
                </a:lnTo>
                <a:lnTo>
                  <a:pt x="0" y="16"/>
                </a:lnTo>
                <a:close/>
              </a:path>
            </a:pathLst>
          </a:cu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Rectangle 8">
            <a:extLst>
              <a:ext uri="{FF2B5EF4-FFF2-40B4-BE49-F238E27FC236}">
                <a16:creationId xmlns:a16="http://schemas.microsoft.com/office/drawing/2014/main" id="{8263DE56-A7F8-4E93-9457-F26EC65B4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8074" y="1589746"/>
            <a:ext cx="2244725" cy="2430463"/>
          </a:xfrm>
          <a:prstGeom prst="rect">
            <a:avLst/>
          </a:prstGeom>
          <a:solidFill>
            <a:srgbClr val="93959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Rectangle 9">
            <a:extLst>
              <a:ext uri="{FF2B5EF4-FFF2-40B4-BE49-F238E27FC236}">
                <a16:creationId xmlns:a16="http://schemas.microsoft.com/office/drawing/2014/main" id="{1AC82DB3-A5F9-4335-9B36-D9B968B06E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2224" y="1678646"/>
            <a:ext cx="1879600" cy="2143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Rectangle 10">
            <a:extLst>
              <a:ext uri="{FF2B5EF4-FFF2-40B4-BE49-F238E27FC236}">
                <a16:creationId xmlns:a16="http://schemas.microsoft.com/office/drawing/2014/main" id="{B200F410-F0A2-4477-99F3-531B99451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924" y="3901146"/>
            <a:ext cx="2366963" cy="144463"/>
          </a:xfrm>
          <a:prstGeom prst="rect">
            <a:avLst/>
          </a:pr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11">
            <a:extLst>
              <a:ext uri="{FF2B5EF4-FFF2-40B4-BE49-F238E27FC236}">
                <a16:creationId xmlns:a16="http://schemas.microsoft.com/office/drawing/2014/main" id="{C98B6DC0-8B76-4727-A69A-C825E1F0A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7249" y="1575459"/>
            <a:ext cx="328613" cy="142875"/>
          </a:xfrm>
          <a:prstGeom prst="rect">
            <a:avLst/>
          </a:pr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12">
            <a:extLst>
              <a:ext uri="{FF2B5EF4-FFF2-40B4-BE49-F238E27FC236}">
                <a16:creationId xmlns:a16="http://schemas.microsoft.com/office/drawing/2014/main" id="{C8C80D74-80AB-470A-BE04-1644B7937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2018371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13">
            <a:extLst>
              <a:ext uri="{FF2B5EF4-FFF2-40B4-BE49-F238E27FC236}">
                <a16:creationId xmlns:a16="http://schemas.microsoft.com/office/drawing/2014/main" id="{35AC1A63-D345-45D1-8E32-0A085C460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2277134"/>
            <a:ext cx="7938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14">
            <a:extLst>
              <a:ext uri="{FF2B5EF4-FFF2-40B4-BE49-F238E27FC236}">
                <a16:creationId xmlns:a16="http://schemas.microsoft.com/office/drawing/2014/main" id="{EFDE47B6-7ED6-477F-9CC6-039CB2F16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2537484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15">
            <a:extLst>
              <a:ext uri="{FF2B5EF4-FFF2-40B4-BE49-F238E27FC236}">
                <a16:creationId xmlns:a16="http://schemas.microsoft.com/office/drawing/2014/main" id="{C0EECF18-E45E-4504-AEBB-D81F0428F5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2797834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Rectangle 16">
            <a:extLst>
              <a:ext uri="{FF2B5EF4-FFF2-40B4-BE49-F238E27FC236}">
                <a16:creationId xmlns:a16="http://schemas.microsoft.com/office/drawing/2014/main" id="{7B80E145-C171-417A-8E57-47A13ED7F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3056596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17">
            <a:extLst>
              <a:ext uri="{FF2B5EF4-FFF2-40B4-BE49-F238E27FC236}">
                <a16:creationId xmlns:a16="http://schemas.microsoft.com/office/drawing/2014/main" id="{A5528198-398E-4261-9F52-EB8B7973F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3316946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Rectangle 18">
            <a:extLst>
              <a:ext uri="{FF2B5EF4-FFF2-40B4-BE49-F238E27FC236}">
                <a16:creationId xmlns:a16="http://schemas.microsoft.com/office/drawing/2014/main" id="{BFF97230-D04C-4975-82CF-E4DEFA47C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3224" y="3575709"/>
            <a:ext cx="7938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19">
            <a:extLst>
              <a:ext uri="{FF2B5EF4-FFF2-40B4-BE49-F238E27FC236}">
                <a16:creationId xmlns:a16="http://schemas.microsoft.com/office/drawing/2014/main" id="{12FC4C58-B2BF-4200-95AC-208D1A8C47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2018371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Rectangle 20">
            <a:extLst>
              <a:ext uri="{FF2B5EF4-FFF2-40B4-BE49-F238E27FC236}">
                <a16:creationId xmlns:a16="http://schemas.microsoft.com/office/drawing/2014/main" id="{715718C8-4C54-4825-A75B-F64E9763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2277134"/>
            <a:ext cx="11113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21">
            <a:extLst>
              <a:ext uri="{FF2B5EF4-FFF2-40B4-BE49-F238E27FC236}">
                <a16:creationId xmlns:a16="http://schemas.microsoft.com/office/drawing/2014/main" id="{C220E1A9-03FC-45F6-B1B5-CDF8DA686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2537484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Rectangle 22">
            <a:extLst>
              <a:ext uri="{FF2B5EF4-FFF2-40B4-BE49-F238E27FC236}">
                <a16:creationId xmlns:a16="http://schemas.microsoft.com/office/drawing/2014/main" id="{7DA68D5C-6D75-482C-A7BD-FC6ABF6CF3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2797834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23">
            <a:extLst>
              <a:ext uri="{FF2B5EF4-FFF2-40B4-BE49-F238E27FC236}">
                <a16:creationId xmlns:a16="http://schemas.microsoft.com/office/drawing/2014/main" id="{36CF3CC6-A7EC-4BE7-9351-703D8FBCCB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3056596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Rectangle 24">
            <a:extLst>
              <a:ext uri="{FF2B5EF4-FFF2-40B4-BE49-F238E27FC236}">
                <a16:creationId xmlns:a16="http://schemas.microsoft.com/office/drawing/2014/main" id="{8CF8D7C7-A327-405F-9BE3-2808D9565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3316946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25">
            <a:extLst>
              <a:ext uri="{FF2B5EF4-FFF2-40B4-BE49-F238E27FC236}">
                <a16:creationId xmlns:a16="http://schemas.microsoft.com/office/drawing/2014/main" id="{27F8C11C-5F1E-4EFA-814F-8D2B35A53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0461" y="3575709"/>
            <a:ext cx="11113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26">
            <a:extLst>
              <a:ext uri="{FF2B5EF4-FFF2-40B4-BE49-F238E27FC236}">
                <a16:creationId xmlns:a16="http://schemas.microsoft.com/office/drawing/2014/main" id="{60EB6924-FFB8-4913-BC0B-AF574010A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2018371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27">
            <a:extLst>
              <a:ext uri="{FF2B5EF4-FFF2-40B4-BE49-F238E27FC236}">
                <a16:creationId xmlns:a16="http://schemas.microsoft.com/office/drawing/2014/main" id="{44FE3DB0-AF99-4ADA-B1DB-E193CA32D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2277134"/>
            <a:ext cx="7938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28">
            <a:extLst>
              <a:ext uri="{FF2B5EF4-FFF2-40B4-BE49-F238E27FC236}">
                <a16:creationId xmlns:a16="http://schemas.microsoft.com/office/drawing/2014/main" id="{41F8B613-4609-4EE1-9374-99B454420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2537484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Rectangle 29">
            <a:extLst>
              <a:ext uri="{FF2B5EF4-FFF2-40B4-BE49-F238E27FC236}">
                <a16:creationId xmlns:a16="http://schemas.microsoft.com/office/drawing/2014/main" id="{EC2FFF9F-AA87-48A3-B63D-EC970E039F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2797834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30">
            <a:extLst>
              <a:ext uri="{FF2B5EF4-FFF2-40B4-BE49-F238E27FC236}">
                <a16:creationId xmlns:a16="http://schemas.microsoft.com/office/drawing/2014/main" id="{605AEED4-0D1F-4F75-80A2-0DFFCAC7B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3056596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31">
            <a:extLst>
              <a:ext uri="{FF2B5EF4-FFF2-40B4-BE49-F238E27FC236}">
                <a16:creationId xmlns:a16="http://schemas.microsoft.com/office/drawing/2014/main" id="{9768C2A9-6A8A-4997-AB1B-4E7C8B20C4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3316946"/>
            <a:ext cx="7938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32">
            <a:extLst>
              <a:ext uri="{FF2B5EF4-FFF2-40B4-BE49-F238E27FC236}">
                <a16:creationId xmlns:a16="http://schemas.microsoft.com/office/drawing/2014/main" id="{FE4D151D-A189-4675-8DD2-545C9AF13A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8499" y="3575709"/>
            <a:ext cx="7938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Rectangle 33">
            <a:extLst>
              <a:ext uri="{FF2B5EF4-FFF2-40B4-BE49-F238E27FC236}">
                <a16:creationId xmlns:a16="http://schemas.microsoft.com/office/drawing/2014/main" id="{5A7004CA-63CE-4A27-BAF6-59F8ED55D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2018371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34">
            <a:extLst>
              <a:ext uri="{FF2B5EF4-FFF2-40B4-BE49-F238E27FC236}">
                <a16:creationId xmlns:a16="http://schemas.microsoft.com/office/drawing/2014/main" id="{0EE23E93-ADA0-42E8-8B48-E3DB8C082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2277134"/>
            <a:ext cx="11113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Rectangle 35">
            <a:extLst>
              <a:ext uri="{FF2B5EF4-FFF2-40B4-BE49-F238E27FC236}">
                <a16:creationId xmlns:a16="http://schemas.microsoft.com/office/drawing/2014/main" id="{B90C845F-AAC7-4A21-92FA-B956E3536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2537484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Rectangle 36">
            <a:extLst>
              <a:ext uri="{FF2B5EF4-FFF2-40B4-BE49-F238E27FC236}">
                <a16:creationId xmlns:a16="http://schemas.microsoft.com/office/drawing/2014/main" id="{7326FD69-FECE-4D32-BE9F-3656F9655C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2797834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Rectangle 37">
            <a:extLst>
              <a:ext uri="{FF2B5EF4-FFF2-40B4-BE49-F238E27FC236}">
                <a16:creationId xmlns:a16="http://schemas.microsoft.com/office/drawing/2014/main" id="{8DE20615-C00F-402B-A25C-6F4EDDF19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3056596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38">
            <a:extLst>
              <a:ext uri="{FF2B5EF4-FFF2-40B4-BE49-F238E27FC236}">
                <a16:creationId xmlns:a16="http://schemas.microsoft.com/office/drawing/2014/main" id="{A3E16CDF-6694-4DC6-BAFD-0E8B1F23A4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3316946"/>
            <a:ext cx="11113" cy="161925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Rectangle 39">
            <a:extLst>
              <a:ext uri="{FF2B5EF4-FFF2-40B4-BE49-F238E27FC236}">
                <a16:creationId xmlns:a16="http://schemas.microsoft.com/office/drawing/2014/main" id="{CD6EFFF7-3B00-4106-85BC-C99F1E8DC4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8149" y="3575709"/>
            <a:ext cx="11113" cy="163513"/>
          </a:xfrm>
          <a:prstGeom prst="rect">
            <a:avLst/>
          </a:prstGeom>
          <a:solidFill>
            <a:srgbClr val="5C81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40">
            <a:extLst>
              <a:ext uri="{FF2B5EF4-FFF2-40B4-BE49-F238E27FC236}">
                <a16:creationId xmlns:a16="http://schemas.microsoft.com/office/drawing/2014/main" id="{B4D65AE8-4334-4F25-928E-4E84B76AD460}"/>
              </a:ext>
            </a:extLst>
          </p:cNvPr>
          <p:cNvSpPr>
            <a:spLocks/>
          </p:cNvSpPr>
          <p:nvPr/>
        </p:nvSpPr>
        <p:spPr bwMode="auto">
          <a:xfrm>
            <a:off x="9839711" y="2934359"/>
            <a:ext cx="1390650" cy="760413"/>
          </a:xfrm>
          <a:custGeom>
            <a:avLst/>
            <a:gdLst>
              <a:gd name="T0" fmla="*/ 876 w 876"/>
              <a:gd name="T1" fmla="*/ 86 h 479"/>
              <a:gd name="T2" fmla="*/ 690 w 876"/>
              <a:gd name="T3" fmla="*/ 361 h 479"/>
              <a:gd name="T4" fmla="*/ 485 w 876"/>
              <a:gd name="T5" fmla="*/ 0 h 479"/>
              <a:gd name="T6" fmla="*/ 300 w 876"/>
              <a:gd name="T7" fmla="*/ 361 h 479"/>
              <a:gd name="T8" fmla="*/ 200 w 876"/>
              <a:gd name="T9" fmla="*/ 148 h 479"/>
              <a:gd name="T10" fmla="*/ 0 w 876"/>
              <a:gd name="T11" fmla="*/ 459 h 479"/>
              <a:gd name="T12" fmla="*/ 2 w 876"/>
              <a:gd name="T13" fmla="*/ 479 h 479"/>
              <a:gd name="T14" fmla="*/ 200 w 876"/>
              <a:gd name="T15" fmla="*/ 175 h 479"/>
              <a:gd name="T16" fmla="*/ 300 w 876"/>
              <a:gd name="T17" fmla="*/ 391 h 479"/>
              <a:gd name="T18" fmla="*/ 485 w 876"/>
              <a:gd name="T19" fmla="*/ 29 h 479"/>
              <a:gd name="T20" fmla="*/ 690 w 876"/>
              <a:gd name="T21" fmla="*/ 388 h 479"/>
              <a:gd name="T22" fmla="*/ 876 w 876"/>
              <a:gd name="T23" fmla="*/ 114 h 479"/>
              <a:gd name="T24" fmla="*/ 876 w 876"/>
              <a:gd name="T25" fmla="*/ 86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76" h="479">
                <a:moveTo>
                  <a:pt x="876" y="86"/>
                </a:moveTo>
                <a:lnTo>
                  <a:pt x="690" y="361"/>
                </a:lnTo>
                <a:lnTo>
                  <a:pt x="485" y="0"/>
                </a:lnTo>
                <a:lnTo>
                  <a:pt x="300" y="361"/>
                </a:lnTo>
                <a:lnTo>
                  <a:pt x="200" y="148"/>
                </a:lnTo>
                <a:lnTo>
                  <a:pt x="0" y="459"/>
                </a:lnTo>
                <a:lnTo>
                  <a:pt x="2" y="479"/>
                </a:lnTo>
                <a:lnTo>
                  <a:pt x="200" y="175"/>
                </a:lnTo>
                <a:lnTo>
                  <a:pt x="300" y="391"/>
                </a:lnTo>
                <a:lnTo>
                  <a:pt x="485" y="29"/>
                </a:lnTo>
                <a:lnTo>
                  <a:pt x="690" y="388"/>
                </a:lnTo>
                <a:lnTo>
                  <a:pt x="876" y="114"/>
                </a:lnTo>
                <a:lnTo>
                  <a:pt x="876" y="86"/>
                </a:lnTo>
                <a:close/>
              </a:path>
            </a:pathLst>
          </a:custGeom>
          <a:solidFill>
            <a:srgbClr val="D4000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41">
            <a:extLst>
              <a:ext uri="{FF2B5EF4-FFF2-40B4-BE49-F238E27FC236}">
                <a16:creationId xmlns:a16="http://schemas.microsoft.com/office/drawing/2014/main" id="{BFE564AD-006D-4EE5-9F85-E8D467DBF511}"/>
              </a:ext>
            </a:extLst>
          </p:cNvPr>
          <p:cNvSpPr>
            <a:spLocks/>
          </p:cNvSpPr>
          <p:nvPr/>
        </p:nvSpPr>
        <p:spPr bwMode="auto">
          <a:xfrm>
            <a:off x="9836536" y="2015196"/>
            <a:ext cx="1393825" cy="1560513"/>
          </a:xfrm>
          <a:custGeom>
            <a:avLst/>
            <a:gdLst>
              <a:gd name="T0" fmla="*/ 878 w 878"/>
              <a:gd name="T1" fmla="*/ 749 h 983"/>
              <a:gd name="T2" fmla="*/ 685 w 878"/>
              <a:gd name="T3" fmla="*/ 795 h 983"/>
              <a:gd name="T4" fmla="*/ 487 w 878"/>
              <a:gd name="T5" fmla="*/ 0 h 983"/>
              <a:gd name="T6" fmla="*/ 300 w 878"/>
              <a:gd name="T7" fmla="*/ 724 h 983"/>
              <a:gd name="T8" fmla="*/ 200 w 878"/>
              <a:gd name="T9" fmla="*/ 513 h 983"/>
              <a:gd name="T10" fmla="*/ 0 w 878"/>
              <a:gd name="T11" fmla="*/ 965 h 983"/>
              <a:gd name="T12" fmla="*/ 6 w 878"/>
              <a:gd name="T13" fmla="*/ 983 h 983"/>
              <a:gd name="T14" fmla="*/ 200 w 878"/>
              <a:gd name="T15" fmla="*/ 543 h 983"/>
              <a:gd name="T16" fmla="*/ 302 w 878"/>
              <a:gd name="T17" fmla="*/ 758 h 983"/>
              <a:gd name="T18" fmla="*/ 487 w 878"/>
              <a:gd name="T19" fmla="*/ 41 h 983"/>
              <a:gd name="T20" fmla="*/ 680 w 878"/>
              <a:gd name="T21" fmla="*/ 820 h 983"/>
              <a:gd name="T22" fmla="*/ 878 w 878"/>
              <a:gd name="T23" fmla="*/ 774 h 983"/>
              <a:gd name="T24" fmla="*/ 878 w 878"/>
              <a:gd name="T25" fmla="*/ 749 h 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78" h="983">
                <a:moveTo>
                  <a:pt x="878" y="749"/>
                </a:moveTo>
                <a:lnTo>
                  <a:pt x="685" y="795"/>
                </a:lnTo>
                <a:lnTo>
                  <a:pt x="487" y="0"/>
                </a:lnTo>
                <a:lnTo>
                  <a:pt x="300" y="724"/>
                </a:lnTo>
                <a:lnTo>
                  <a:pt x="200" y="513"/>
                </a:lnTo>
                <a:lnTo>
                  <a:pt x="0" y="965"/>
                </a:lnTo>
                <a:lnTo>
                  <a:pt x="6" y="983"/>
                </a:lnTo>
                <a:lnTo>
                  <a:pt x="200" y="543"/>
                </a:lnTo>
                <a:lnTo>
                  <a:pt x="302" y="758"/>
                </a:lnTo>
                <a:lnTo>
                  <a:pt x="487" y="41"/>
                </a:lnTo>
                <a:lnTo>
                  <a:pt x="680" y="820"/>
                </a:lnTo>
                <a:lnTo>
                  <a:pt x="878" y="774"/>
                </a:lnTo>
                <a:lnTo>
                  <a:pt x="878" y="7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42">
            <a:extLst>
              <a:ext uri="{FF2B5EF4-FFF2-40B4-BE49-F238E27FC236}">
                <a16:creationId xmlns:a16="http://schemas.microsoft.com/office/drawing/2014/main" id="{C8D1E1E2-D0CA-4957-A3C4-6BB8654EACD0}"/>
              </a:ext>
            </a:extLst>
          </p:cNvPr>
          <p:cNvSpPr>
            <a:spLocks/>
          </p:cNvSpPr>
          <p:nvPr/>
        </p:nvSpPr>
        <p:spPr bwMode="auto">
          <a:xfrm>
            <a:off x="9836536" y="2018371"/>
            <a:ext cx="1393825" cy="1749425"/>
          </a:xfrm>
          <a:custGeom>
            <a:avLst/>
            <a:gdLst>
              <a:gd name="T0" fmla="*/ 878 w 878"/>
              <a:gd name="T1" fmla="*/ 577 h 1102"/>
              <a:gd name="T2" fmla="*/ 687 w 878"/>
              <a:gd name="T3" fmla="*/ 0 h 1102"/>
              <a:gd name="T4" fmla="*/ 482 w 878"/>
              <a:gd name="T5" fmla="*/ 729 h 1102"/>
              <a:gd name="T6" fmla="*/ 307 w 878"/>
              <a:gd name="T7" fmla="*/ 1068 h 1102"/>
              <a:gd name="T8" fmla="*/ 200 w 878"/>
              <a:gd name="T9" fmla="*/ 643 h 1102"/>
              <a:gd name="T10" fmla="*/ 0 w 878"/>
              <a:gd name="T11" fmla="*/ 1036 h 1102"/>
              <a:gd name="T12" fmla="*/ 6 w 878"/>
              <a:gd name="T13" fmla="*/ 1054 h 1102"/>
              <a:gd name="T14" fmla="*/ 198 w 878"/>
              <a:gd name="T15" fmla="*/ 675 h 1102"/>
              <a:gd name="T16" fmla="*/ 305 w 878"/>
              <a:gd name="T17" fmla="*/ 1102 h 1102"/>
              <a:gd name="T18" fmla="*/ 489 w 878"/>
              <a:gd name="T19" fmla="*/ 747 h 1102"/>
              <a:gd name="T20" fmla="*/ 489 w 878"/>
              <a:gd name="T21" fmla="*/ 747 h 1102"/>
              <a:gd name="T22" fmla="*/ 689 w 878"/>
              <a:gd name="T23" fmla="*/ 36 h 1102"/>
              <a:gd name="T24" fmla="*/ 878 w 878"/>
              <a:gd name="T25" fmla="*/ 613 h 1102"/>
              <a:gd name="T26" fmla="*/ 878 w 878"/>
              <a:gd name="T27" fmla="*/ 577 h 1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78" h="1102">
                <a:moveTo>
                  <a:pt x="878" y="577"/>
                </a:moveTo>
                <a:lnTo>
                  <a:pt x="687" y="0"/>
                </a:lnTo>
                <a:lnTo>
                  <a:pt x="482" y="729"/>
                </a:lnTo>
                <a:lnTo>
                  <a:pt x="307" y="1068"/>
                </a:lnTo>
                <a:lnTo>
                  <a:pt x="200" y="643"/>
                </a:lnTo>
                <a:lnTo>
                  <a:pt x="0" y="1036"/>
                </a:lnTo>
                <a:lnTo>
                  <a:pt x="6" y="1054"/>
                </a:lnTo>
                <a:lnTo>
                  <a:pt x="198" y="675"/>
                </a:lnTo>
                <a:lnTo>
                  <a:pt x="305" y="1102"/>
                </a:lnTo>
                <a:lnTo>
                  <a:pt x="489" y="747"/>
                </a:lnTo>
                <a:lnTo>
                  <a:pt x="489" y="747"/>
                </a:lnTo>
                <a:lnTo>
                  <a:pt x="689" y="36"/>
                </a:lnTo>
                <a:lnTo>
                  <a:pt x="878" y="613"/>
                </a:lnTo>
                <a:lnTo>
                  <a:pt x="878" y="57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43">
            <a:extLst>
              <a:ext uri="{FF2B5EF4-FFF2-40B4-BE49-F238E27FC236}">
                <a16:creationId xmlns:a16="http://schemas.microsoft.com/office/drawing/2014/main" id="{3B1356BF-347D-41F9-B97B-62669AA98383}"/>
              </a:ext>
            </a:extLst>
          </p:cNvPr>
          <p:cNvSpPr>
            <a:spLocks/>
          </p:cNvSpPr>
          <p:nvPr/>
        </p:nvSpPr>
        <p:spPr bwMode="auto">
          <a:xfrm>
            <a:off x="9839711" y="2608921"/>
            <a:ext cx="1390650" cy="538163"/>
          </a:xfrm>
          <a:custGeom>
            <a:avLst/>
            <a:gdLst>
              <a:gd name="T0" fmla="*/ 876 w 876"/>
              <a:gd name="T1" fmla="*/ 185 h 339"/>
              <a:gd name="T2" fmla="*/ 687 w 876"/>
              <a:gd name="T3" fmla="*/ 0 h 339"/>
              <a:gd name="T4" fmla="*/ 482 w 876"/>
              <a:gd name="T5" fmla="*/ 207 h 339"/>
              <a:gd name="T6" fmla="*/ 200 w 876"/>
              <a:gd name="T7" fmla="*/ 62 h 339"/>
              <a:gd name="T8" fmla="*/ 0 w 876"/>
              <a:gd name="T9" fmla="*/ 319 h 339"/>
              <a:gd name="T10" fmla="*/ 2 w 876"/>
              <a:gd name="T11" fmla="*/ 339 h 339"/>
              <a:gd name="T12" fmla="*/ 202 w 876"/>
              <a:gd name="T13" fmla="*/ 85 h 339"/>
              <a:gd name="T14" fmla="*/ 485 w 876"/>
              <a:gd name="T15" fmla="*/ 232 h 339"/>
              <a:gd name="T16" fmla="*/ 687 w 876"/>
              <a:gd name="T17" fmla="*/ 25 h 339"/>
              <a:gd name="T18" fmla="*/ 876 w 876"/>
              <a:gd name="T19" fmla="*/ 209 h 339"/>
              <a:gd name="T20" fmla="*/ 876 w 876"/>
              <a:gd name="T21" fmla="*/ 185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76" h="339">
                <a:moveTo>
                  <a:pt x="876" y="185"/>
                </a:moveTo>
                <a:lnTo>
                  <a:pt x="687" y="0"/>
                </a:lnTo>
                <a:lnTo>
                  <a:pt x="482" y="207"/>
                </a:lnTo>
                <a:lnTo>
                  <a:pt x="200" y="62"/>
                </a:lnTo>
                <a:lnTo>
                  <a:pt x="0" y="319"/>
                </a:lnTo>
                <a:lnTo>
                  <a:pt x="2" y="339"/>
                </a:lnTo>
                <a:lnTo>
                  <a:pt x="202" y="85"/>
                </a:lnTo>
                <a:lnTo>
                  <a:pt x="485" y="232"/>
                </a:lnTo>
                <a:lnTo>
                  <a:pt x="687" y="25"/>
                </a:lnTo>
                <a:lnTo>
                  <a:pt x="876" y="209"/>
                </a:lnTo>
                <a:lnTo>
                  <a:pt x="876" y="1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44">
            <a:extLst>
              <a:ext uri="{FF2B5EF4-FFF2-40B4-BE49-F238E27FC236}">
                <a16:creationId xmlns:a16="http://schemas.microsoft.com/office/drawing/2014/main" id="{AF9F63EA-880F-4475-B790-8EB32B26BB16}"/>
              </a:ext>
            </a:extLst>
          </p:cNvPr>
          <p:cNvSpPr>
            <a:spLocks/>
          </p:cNvSpPr>
          <p:nvPr/>
        </p:nvSpPr>
        <p:spPr bwMode="auto">
          <a:xfrm>
            <a:off x="10120699" y="3294721"/>
            <a:ext cx="325438" cy="215900"/>
          </a:xfrm>
          <a:custGeom>
            <a:avLst/>
            <a:gdLst>
              <a:gd name="T0" fmla="*/ 87 w 90"/>
              <a:gd name="T1" fmla="*/ 11 h 60"/>
              <a:gd name="T2" fmla="*/ 68 w 90"/>
              <a:gd name="T3" fmla="*/ 1 h 60"/>
              <a:gd name="T4" fmla="*/ 58 w 90"/>
              <a:gd name="T5" fmla="*/ 5 h 60"/>
              <a:gd name="T6" fmla="*/ 8 w 90"/>
              <a:gd name="T7" fmla="*/ 37 h 60"/>
              <a:gd name="T8" fmla="*/ 1 w 90"/>
              <a:gd name="T9" fmla="*/ 44 h 60"/>
              <a:gd name="T10" fmla="*/ 2 w 90"/>
              <a:gd name="T11" fmla="*/ 49 h 60"/>
              <a:gd name="T12" fmla="*/ 8 w 90"/>
              <a:gd name="T13" fmla="*/ 60 h 60"/>
              <a:gd name="T14" fmla="*/ 62 w 90"/>
              <a:gd name="T15" fmla="*/ 48 h 60"/>
              <a:gd name="T16" fmla="*/ 84 w 90"/>
              <a:gd name="T17" fmla="*/ 32 h 60"/>
              <a:gd name="T18" fmla="*/ 87 w 90"/>
              <a:gd name="T19" fmla="*/ 11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0" h="60">
                <a:moveTo>
                  <a:pt x="87" y="11"/>
                </a:moveTo>
                <a:cubicBezTo>
                  <a:pt x="84" y="5"/>
                  <a:pt x="76" y="0"/>
                  <a:pt x="68" y="1"/>
                </a:cubicBezTo>
                <a:cubicBezTo>
                  <a:pt x="64" y="2"/>
                  <a:pt x="61" y="3"/>
                  <a:pt x="58" y="5"/>
                </a:cubicBezTo>
                <a:cubicBezTo>
                  <a:pt x="41" y="15"/>
                  <a:pt x="25" y="27"/>
                  <a:pt x="8" y="37"/>
                </a:cubicBezTo>
                <a:cubicBezTo>
                  <a:pt x="4" y="38"/>
                  <a:pt x="1" y="41"/>
                  <a:pt x="1" y="44"/>
                </a:cubicBezTo>
                <a:cubicBezTo>
                  <a:pt x="0" y="46"/>
                  <a:pt x="1" y="47"/>
                  <a:pt x="2" y="49"/>
                </a:cubicBezTo>
                <a:cubicBezTo>
                  <a:pt x="5" y="54"/>
                  <a:pt x="5" y="54"/>
                  <a:pt x="8" y="60"/>
                </a:cubicBezTo>
                <a:cubicBezTo>
                  <a:pt x="32" y="58"/>
                  <a:pt x="52" y="51"/>
                  <a:pt x="62" y="48"/>
                </a:cubicBezTo>
                <a:cubicBezTo>
                  <a:pt x="70" y="45"/>
                  <a:pt x="80" y="39"/>
                  <a:pt x="84" y="32"/>
                </a:cubicBezTo>
                <a:cubicBezTo>
                  <a:pt x="89" y="26"/>
                  <a:pt x="90" y="18"/>
                  <a:pt x="87" y="11"/>
                </a:cubicBezTo>
                <a:close/>
              </a:path>
            </a:pathLst>
          </a:custGeom>
          <a:solidFill>
            <a:srgbClr val="F0B7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45">
            <a:extLst>
              <a:ext uri="{FF2B5EF4-FFF2-40B4-BE49-F238E27FC236}">
                <a16:creationId xmlns:a16="http://schemas.microsoft.com/office/drawing/2014/main" id="{570FFB10-5F29-47F1-AE22-63F5F7F2A621}"/>
              </a:ext>
            </a:extLst>
          </p:cNvPr>
          <p:cNvSpPr>
            <a:spLocks/>
          </p:cNvSpPr>
          <p:nvPr/>
        </p:nvSpPr>
        <p:spPr bwMode="auto">
          <a:xfrm>
            <a:off x="10236586" y="2483509"/>
            <a:ext cx="892175" cy="1027113"/>
          </a:xfrm>
          <a:custGeom>
            <a:avLst/>
            <a:gdLst>
              <a:gd name="T0" fmla="*/ 245 w 247"/>
              <a:gd name="T1" fmla="*/ 0 h 285"/>
              <a:gd name="T2" fmla="*/ 0 w 247"/>
              <a:gd name="T3" fmla="*/ 278 h 285"/>
              <a:gd name="T4" fmla="*/ 9 w 247"/>
              <a:gd name="T5" fmla="*/ 285 h 285"/>
              <a:gd name="T6" fmla="*/ 247 w 247"/>
              <a:gd name="T7" fmla="*/ 1 h 285"/>
              <a:gd name="T8" fmla="*/ 245 w 247"/>
              <a:gd name="T9" fmla="*/ 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7" h="285">
                <a:moveTo>
                  <a:pt x="245" y="0"/>
                </a:moveTo>
                <a:cubicBezTo>
                  <a:pt x="0" y="278"/>
                  <a:pt x="0" y="278"/>
                  <a:pt x="0" y="278"/>
                </a:cubicBezTo>
                <a:cubicBezTo>
                  <a:pt x="9" y="285"/>
                  <a:pt x="9" y="285"/>
                  <a:pt x="9" y="285"/>
                </a:cubicBezTo>
                <a:cubicBezTo>
                  <a:pt x="247" y="1"/>
                  <a:pt x="247" y="1"/>
                  <a:pt x="247" y="1"/>
                </a:cubicBezTo>
                <a:cubicBezTo>
                  <a:pt x="246" y="1"/>
                  <a:pt x="246" y="0"/>
                  <a:pt x="245" y="0"/>
                </a:cubicBezTo>
                <a:close/>
              </a:path>
            </a:pathLst>
          </a:custGeom>
          <a:solidFill>
            <a:srgbClr val="AAA9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46">
            <a:extLst>
              <a:ext uri="{FF2B5EF4-FFF2-40B4-BE49-F238E27FC236}">
                <a16:creationId xmlns:a16="http://schemas.microsoft.com/office/drawing/2014/main" id="{8ABC6DE4-883A-450A-9718-AF5C412E9813}"/>
              </a:ext>
            </a:extLst>
          </p:cNvPr>
          <p:cNvSpPr>
            <a:spLocks/>
          </p:cNvSpPr>
          <p:nvPr/>
        </p:nvSpPr>
        <p:spPr bwMode="auto">
          <a:xfrm>
            <a:off x="10100061" y="3269321"/>
            <a:ext cx="357188" cy="198438"/>
          </a:xfrm>
          <a:custGeom>
            <a:avLst/>
            <a:gdLst>
              <a:gd name="T0" fmla="*/ 98 w 99"/>
              <a:gd name="T1" fmla="*/ 0 h 55"/>
              <a:gd name="T2" fmla="*/ 69 w 99"/>
              <a:gd name="T3" fmla="*/ 0 h 55"/>
              <a:gd name="T4" fmla="*/ 53 w 99"/>
              <a:gd name="T5" fmla="*/ 1 h 55"/>
              <a:gd name="T6" fmla="*/ 29 w 99"/>
              <a:gd name="T7" fmla="*/ 22 h 55"/>
              <a:gd name="T8" fmla="*/ 3 w 99"/>
              <a:gd name="T9" fmla="*/ 41 h 55"/>
              <a:gd name="T10" fmla="*/ 1 w 99"/>
              <a:gd name="T11" fmla="*/ 46 h 55"/>
              <a:gd name="T12" fmla="*/ 5 w 99"/>
              <a:gd name="T13" fmla="*/ 52 h 55"/>
              <a:gd name="T14" fmla="*/ 6 w 99"/>
              <a:gd name="T15" fmla="*/ 54 h 55"/>
              <a:gd name="T16" fmla="*/ 10 w 99"/>
              <a:gd name="T17" fmla="*/ 54 h 55"/>
              <a:gd name="T18" fmla="*/ 33 w 99"/>
              <a:gd name="T19" fmla="*/ 43 h 55"/>
              <a:gd name="T20" fmla="*/ 53 w 99"/>
              <a:gd name="T21" fmla="*/ 35 h 55"/>
              <a:gd name="T22" fmla="*/ 53 w 99"/>
              <a:gd name="T23" fmla="*/ 35 h 55"/>
              <a:gd name="T24" fmla="*/ 54 w 99"/>
              <a:gd name="T25" fmla="*/ 34 h 55"/>
              <a:gd name="T26" fmla="*/ 53 w 99"/>
              <a:gd name="T27" fmla="*/ 34 h 55"/>
              <a:gd name="T28" fmla="*/ 73 w 99"/>
              <a:gd name="T29" fmla="*/ 14 h 55"/>
              <a:gd name="T30" fmla="*/ 90 w 99"/>
              <a:gd name="T31" fmla="*/ 11 h 55"/>
              <a:gd name="T32" fmla="*/ 97 w 99"/>
              <a:gd name="T33" fmla="*/ 7 h 55"/>
              <a:gd name="T34" fmla="*/ 98 w 99"/>
              <a:gd name="T35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9" h="55">
                <a:moveTo>
                  <a:pt x="98" y="0"/>
                </a:moveTo>
                <a:cubicBezTo>
                  <a:pt x="88" y="0"/>
                  <a:pt x="79" y="0"/>
                  <a:pt x="69" y="0"/>
                </a:cubicBezTo>
                <a:cubicBezTo>
                  <a:pt x="64" y="0"/>
                  <a:pt x="59" y="0"/>
                  <a:pt x="53" y="1"/>
                </a:cubicBezTo>
                <a:cubicBezTo>
                  <a:pt x="43" y="5"/>
                  <a:pt x="36" y="14"/>
                  <a:pt x="29" y="22"/>
                </a:cubicBezTo>
                <a:cubicBezTo>
                  <a:pt x="22" y="30"/>
                  <a:pt x="14" y="39"/>
                  <a:pt x="3" y="41"/>
                </a:cubicBezTo>
                <a:cubicBezTo>
                  <a:pt x="1" y="40"/>
                  <a:pt x="0" y="44"/>
                  <a:pt x="1" y="46"/>
                </a:cubicBezTo>
                <a:cubicBezTo>
                  <a:pt x="2" y="48"/>
                  <a:pt x="4" y="50"/>
                  <a:pt x="5" y="52"/>
                </a:cubicBezTo>
                <a:cubicBezTo>
                  <a:pt x="5" y="52"/>
                  <a:pt x="5" y="53"/>
                  <a:pt x="6" y="54"/>
                </a:cubicBezTo>
                <a:cubicBezTo>
                  <a:pt x="7" y="55"/>
                  <a:pt x="9" y="55"/>
                  <a:pt x="10" y="54"/>
                </a:cubicBezTo>
                <a:cubicBezTo>
                  <a:pt x="19" y="52"/>
                  <a:pt x="25" y="46"/>
                  <a:pt x="33" y="43"/>
                </a:cubicBezTo>
                <a:cubicBezTo>
                  <a:pt x="40" y="40"/>
                  <a:pt x="47" y="39"/>
                  <a:pt x="53" y="35"/>
                </a:cubicBezTo>
                <a:cubicBezTo>
                  <a:pt x="53" y="35"/>
                  <a:pt x="53" y="35"/>
                  <a:pt x="53" y="35"/>
                </a:cubicBezTo>
                <a:cubicBezTo>
                  <a:pt x="53" y="35"/>
                  <a:pt x="53" y="34"/>
                  <a:pt x="54" y="34"/>
                </a:cubicBezTo>
                <a:cubicBezTo>
                  <a:pt x="53" y="34"/>
                  <a:pt x="53" y="34"/>
                  <a:pt x="53" y="34"/>
                </a:cubicBezTo>
                <a:cubicBezTo>
                  <a:pt x="62" y="30"/>
                  <a:pt x="69" y="23"/>
                  <a:pt x="73" y="14"/>
                </a:cubicBezTo>
                <a:cubicBezTo>
                  <a:pt x="79" y="15"/>
                  <a:pt x="85" y="14"/>
                  <a:pt x="90" y="11"/>
                </a:cubicBezTo>
                <a:cubicBezTo>
                  <a:pt x="93" y="10"/>
                  <a:pt x="95" y="9"/>
                  <a:pt x="97" y="7"/>
                </a:cubicBezTo>
                <a:cubicBezTo>
                  <a:pt x="99" y="5"/>
                  <a:pt x="99" y="2"/>
                  <a:pt x="98" y="0"/>
                </a:cubicBezTo>
                <a:close/>
              </a:path>
            </a:pathLst>
          </a:custGeom>
          <a:solidFill>
            <a:srgbClr val="FFC2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47">
            <a:extLst>
              <a:ext uri="{FF2B5EF4-FFF2-40B4-BE49-F238E27FC236}">
                <a16:creationId xmlns:a16="http://schemas.microsoft.com/office/drawing/2014/main" id="{645F0ED3-CCB0-41DD-9E73-B67931B71999}"/>
              </a:ext>
            </a:extLst>
          </p:cNvPr>
          <p:cNvSpPr>
            <a:spLocks/>
          </p:cNvSpPr>
          <p:nvPr/>
        </p:nvSpPr>
        <p:spPr bwMode="auto">
          <a:xfrm>
            <a:off x="10323899" y="3291546"/>
            <a:ext cx="150813" cy="176213"/>
          </a:xfrm>
          <a:custGeom>
            <a:avLst/>
            <a:gdLst>
              <a:gd name="T0" fmla="*/ 7 w 42"/>
              <a:gd name="T1" fmla="*/ 18 h 49"/>
              <a:gd name="T2" fmla="*/ 5 w 42"/>
              <a:gd name="T3" fmla="*/ 23 h 49"/>
              <a:gd name="T4" fmla="*/ 8 w 42"/>
              <a:gd name="T5" fmla="*/ 26 h 49"/>
              <a:gd name="T6" fmla="*/ 4 w 42"/>
              <a:gd name="T7" fmla="*/ 29 h 49"/>
              <a:gd name="T8" fmla="*/ 6 w 42"/>
              <a:gd name="T9" fmla="*/ 33 h 49"/>
              <a:gd name="T10" fmla="*/ 0 w 42"/>
              <a:gd name="T11" fmla="*/ 37 h 49"/>
              <a:gd name="T12" fmla="*/ 5 w 42"/>
              <a:gd name="T13" fmla="*/ 41 h 49"/>
              <a:gd name="T14" fmla="*/ 2 w 42"/>
              <a:gd name="T15" fmla="*/ 45 h 49"/>
              <a:gd name="T16" fmla="*/ 6 w 42"/>
              <a:gd name="T17" fmla="*/ 49 h 49"/>
              <a:gd name="T18" fmla="*/ 12 w 42"/>
              <a:gd name="T19" fmla="*/ 48 h 49"/>
              <a:gd name="T20" fmla="*/ 32 w 42"/>
              <a:gd name="T21" fmla="*/ 42 h 49"/>
              <a:gd name="T22" fmla="*/ 34 w 42"/>
              <a:gd name="T23" fmla="*/ 40 h 49"/>
              <a:gd name="T24" fmla="*/ 33 w 42"/>
              <a:gd name="T25" fmla="*/ 37 h 49"/>
              <a:gd name="T26" fmla="*/ 39 w 42"/>
              <a:gd name="T27" fmla="*/ 32 h 49"/>
              <a:gd name="T28" fmla="*/ 37 w 42"/>
              <a:gd name="T29" fmla="*/ 26 h 49"/>
              <a:gd name="T30" fmla="*/ 41 w 42"/>
              <a:gd name="T31" fmla="*/ 20 h 49"/>
              <a:gd name="T32" fmla="*/ 37 w 42"/>
              <a:gd name="T33" fmla="*/ 15 h 49"/>
              <a:gd name="T34" fmla="*/ 38 w 42"/>
              <a:gd name="T35" fmla="*/ 5 h 49"/>
              <a:gd name="T36" fmla="*/ 30 w 42"/>
              <a:gd name="T37" fmla="*/ 5 h 49"/>
              <a:gd name="T38" fmla="*/ 7 w 42"/>
              <a:gd name="T39" fmla="*/ 1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2" h="49">
                <a:moveTo>
                  <a:pt x="7" y="18"/>
                </a:moveTo>
                <a:cubicBezTo>
                  <a:pt x="6" y="20"/>
                  <a:pt x="5" y="21"/>
                  <a:pt x="5" y="23"/>
                </a:cubicBezTo>
                <a:cubicBezTo>
                  <a:pt x="5" y="24"/>
                  <a:pt x="7" y="26"/>
                  <a:pt x="8" y="26"/>
                </a:cubicBezTo>
                <a:cubicBezTo>
                  <a:pt x="6" y="26"/>
                  <a:pt x="4" y="27"/>
                  <a:pt x="4" y="29"/>
                </a:cubicBezTo>
                <a:cubicBezTo>
                  <a:pt x="3" y="31"/>
                  <a:pt x="4" y="33"/>
                  <a:pt x="6" y="33"/>
                </a:cubicBezTo>
                <a:cubicBezTo>
                  <a:pt x="3" y="33"/>
                  <a:pt x="0" y="34"/>
                  <a:pt x="0" y="37"/>
                </a:cubicBezTo>
                <a:cubicBezTo>
                  <a:pt x="0" y="39"/>
                  <a:pt x="2" y="42"/>
                  <a:pt x="5" y="41"/>
                </a:cubicBezTo>
                <a:cubicBezTo>
                  <a:pt x="3" y="42"/>
                  <a:pt x="1" y="44"/>
                  <a:pt x="2" y="45"/>
                </a:cubicBezTo>
                <a:cubicBezTo>
                  <a:pt x="3" y="47"/>
                  <a:pt x="4" y="48"/>
                  <a:pt x="6" y="49"/>
                </a:cubicBezTo>
                <a:cubicBezTo>
                  <a:pt x="8" y="49"/>
                  <a:pt x="10" y="49"/>
                  <a:pt x="12" y="48"/>
                </a:cubicBezTo>
                <a:cubicBezTo>
                  <a:pt x="19" y="47"/>
                  <a:pt x="26" y="46"/>
                  <a:pt x="32" y="42"/>
                </a:cubicBezTo>
                <a:cubicBezTo>
                  <a:pt x="33" y="41"/>
                  <a:pt x="33" y="41"/>
                  <a:pt x="34" y="40"/>
                </a:cubicBezTo>
                <a:cubicBezTo>
                  <a:pt x="34" y="39"/>
                  <a:pt x="34" y="38"/>
                  <a:pt x="33" y="37"/>
                </a:cubicBezTo>
                <a:cubicBezTo>
                  <a:pt x="35" y="36"/>
                  <a:pt x="38" y="35"/>
                  <a:pt x="39" y="32"/>
                </a:cubicBezTo>
                <a:cubicBezTo>
                  <a:pt x="40" y="30"/>
                  <a:pt x="40" y="26"/>
                  <a:pt x="37" y="26"/>
                </a:cubicBezTo>
                <a:cubicBezTo>
                  <a:pt x="39" y="24"/>
                  <a:pt x="41" y="22"/>
                  <a:pt x="41" y="20"/>
                </a:cubicBezTo>
                <a:cubicBezTo>
                  <a:pt x="42" y="17"/>
                  <a:pt x="39" y="14"/>
                  <a:pt x="37" y="15"/>
                </a:cubicBezTo>
                <a:cubicBezTo>
                  <a:pt x="40" y="12"/>
                  <a:pt x="40" y="8"/>
                  <a:pt x="38" y="5"/>
                </a:cubicBezTo>
                <a:cubicBezTo>
                  <a:pt x="35" y="0"/>
                  <a:pt x="33" y="2"/>
                  <a:pt x="30" y="5"/>
                </a:cubicBezTo>
                <a:cubicBezTo>
                  <a:pt x="24" y="11"/>
                  <a:pt x="13" y="12"/>
                  <a:pt x="7" y="18"/>
                </a:cubicBezTo>
                <a:close/>
              </a:path>
            </a:pathLst>
          </a:custGeom>
          <a:solidFill>
            <a:srgbClr val="FFC2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48">
            <a:extLst>
              <a:ext uri="{FF2B5EF4-FFF2-40B4-BE49-F238E27FC236}">
                <a16:creationId xmlns:a16="http://schemas.microsoft.com/office/drawing/2014/main" id="{DC231762-C93F-456B-97A1-62C77B6BEC64}"/>
              </a:ext>
            </a:extLst>
          </p:cNvPr>
          <p:cNvSpPr>
            <a:spLocks/>
          </p:cNvSpPr>
          <p:nvPr/>
        </p:nvSpPr>
        <p:spPr bwMode="auto">
          <a:xfrm>
            <a:off x="8390324" y="4247221"/>
            <a:ext cx="223838" cy="414338"/>
          </a:xfrm>
          <a:custGeom>
            <a:avLst/>
            <a:gdLst>
              <a:gd name="T0" fmla="*/ 58 w 62"/>
              <a:gd name="T1" fmla="*/ 14 h 115"/>
              <a:gd name="T2" fmla="*/ 50 w 62"/>
              <a:gd name="T3" fmla="*/ 0 h 115"/>
              <a:gd name="T4" fmla="*/ 31 w 62"/>
              <a:gd name="T5" fmla="*/ 1 h 115"/>
              <a:gd name="T6" fmla="*/ 15 w 62"/>
              <a:gd name="T7" fmla="*/ 8 h 115"/>
              <a:gd name="T8" fmla="*/ 3 w 62"/>
              <a:gd name="T9" fmla="*/ 48 h 115"/>
              <a:gd name="T10" fmla="*/ 12 w 62"/>
              <a:gd name="T11" fmla="*/ 94 h 115"/>
              <a:gd name="T12" fmla="*/ 14 w 62"/>
              <a:gd name="T13" fmla="*/ 99 h 115"/>
              <a:gd name="T14" fmla="*/ 19 w 62"/>
              <a:gd name="T15" fmla="*/ 100 h 115"/>
              <a:gd name="T16" fmla="*/ 22 w 62"/>
              <a:gd name="T17" fmla="*/ 94 h 115"/>
              <a:gd name="T18" fmla="*/ 39 w 62"/>
              <a:gd name="T19" fmla="*/ 99 h 115"/>
              <a:gd name="T20" fmla="*/ 31 w 62"/>
              <a:gd name="T21" fmla="*/ 72 h 115"/>
              <a:gd name="T22" fmla="*/ 42 w 62"/>
              <a:gd name="T23" fmla="*/ 47 h 115"/>
              <a:gd name="T24" fmla="*/ 45 w 62"/>
              <a:gd name="T25" fmla="*/ 61 h 115"/>
              <a:gd name="T26" fmla="*/ 45 w 62"/>
              <a:gd name="T27" fmla="*/ 72 h 115"/>
              <a:gd name="T28" fmla="*/ 54 w 62"/>
              <a:gd name="T29" fmla="*/ 79 h 115"/>
              <a:gd name="T30" fmla="*/ 58 w 62"/>
              <a:gd name="T31" fmla="*/ 1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2" h="115">
                <a:moveTo>
                  <a:pt x="58" y="14"/>
                </a:moveTo>
                <a:cubicBezTo>
                  <a:pt x="56" y="5"/>
                  <a:pt x="54" y="0"/>
                  <a:pt x="50" y="0"/>
                </a:cubicBezTo>
                <a:cubicBezTo>
                  <a:pt x="44" y="0"/>
                  <a:pt x="37" y="0"/>
                  <a:pt x="31" y="1"/>
                </a:cubicBezTo>
                <a:cubicBezTo>
                  <a:pt x="27" y="1"/>
                  <a:pt x="16" y="4"/>
                  <a:pt x="15" y="8"/>
                </a:cubicBezTo>
                <a:cubicBezTo>
                  <a:pt x="11" y="21"/>
                  <a:pt x="5" y="34"/>
                  <a:pt x="3" y="48"/>
                </a:cubicBezTo>
                <a:cubicBezTo>
                  <a:pt x="0" y="64"/>
                  <a:pt x="7" y="78"/>
                  <a:pt x="12" y="94"/>
                </a:cubicBezTo>
                <a:cubicBezTo>
                  <a:pt x="12" y="96"/>
                  <a:pt x="13" y="97"/>
                  <a:pt x="14" y="99"/>
                </a:cubicBezTo>
                <a:cubicBezTo>
                  <a:pt x="15" y="100"/>
                  <a:pt x="17" y="101"/>
                  <a:pt x="19" y="100"/>
                </a:cubicBezTo>
                <a:cubicBezTo>
                  <a:pt x="22" y="99"/>
                  <a:pt x="22" y="96"/>
                  <a:pt x="22" y="94"/>
                </a:cubicBezTo>
                <a:cubicBezTo>
                  <a:pt x="27" y="98"/>
                  <a:pt x="37" y="115"/>
                  <a:pt x="39" y="99"/>
                </a:cubicBezTo>
                <a:cubicBezTo>
                  <a:pt x="39" y="91"/>
                  <a:pt x="33" y="80"/>
                  <a:pt x="31" y="72"/>
                </a:cubicBezTo>
                <a:cubicBezTo>
                  <a:pt x="29" y="63"/>
                  <a:pt x="33" y="53"/>
                  <a:pt x="42" y="47"/>
                </a:cubicBezTo>
                <a:cubicBezTo>
                  <a:pt x="44" y="52"/>
                  <a:pt x="46" y="56"/>
                  <a:pt x="45" y="61"/>
                </a:cubicBezTo>
                <a:cubicBezTo>
                  <a:pt x="45" y="65"/>
                  <a:pt x="44" y="69"/>
                  <a:pt x="45" y="72"/>
                </a:cubicBezTo>
                <a:cubicBezTo>
                  <a:pt x="46" y="76"/>
                  <a:pt x="50" y="79"/>
                  <a:pt x="54" y="79"/>
                </a:cubicBezTo>
                <a:cubicBezTo>
                  <a:pt x="60" y="78"/>
                  <a:pt x="62" y="36"/>
                  <a:pt x="58" y="14"/>
                </a:cubicBezTo>
                <a:close/>
              </a:path>
            </a:pathLst>
          </a:custGeom>
          <a:solidFill>
            <a:srgbClr val="FFC2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49">
            <a:extLst>
              <a:ext uri="{FF2B5EF4-FFF2-40B4-BE49-F238E27FC236}">
                <a16:creationId xmlns:a16="http://schemas.microsoft.com/office/drawing/2014/main" id="{C5C3EDB9-C895-4D37-9F9E-25E9C0BFCA92}"/>
              </a:ext>
            </a:extLst>
          </p:cNvPr>
          <p:cNvSpPr>
            <a:spLocks/>
          </p:cNvSpPr>
          <p:nvPr/>
        </p:nvSpPr>
        <p:spPr bwMode="auto">
          <a:xfrm>
            <a:off x="9307899" y="5858534"/>
            <a:ext cx="358775" cy="523875"/>
          </a:xfrm>
          <a:custGeom>
            <a:avLst/>
            <a:gdLst>
              <a:gd name="T0" fmla="*/ 68 w 99"/>
              <a:gd name="T1" fmla="*/ 55 h 145"/>
              <a:gd name="T2" fmla="*/ 75 w 99"/>
              <a:gd name="T3" fmla="*/ 81 h 145"/>
              <a:gd name="T4" fmla="*/ 96 w 99"/>
              <a:gd name="T5" fmla="*/ 116 h 145"/>
              <a:gd name="T6" fmla="*/ 94 w 99"/>
              <a:gd name="T7" fmla="*/ 131 h 145"/>
              <a:gd name="T8" fmla="*/ 85 w 99"/>
              <a:gd name="T9" fmla="*/ 140 h 145"/>
              <a:gd name="T10" fmla="*/ 75 w 99"/>
              <a:gd name="T11" fmla="*/ 145 h 145"/>
              <a:gd name="T12" fmla="*/ 40 w 99"/>
              <a:gd name="T13" fmla="*/ 145 h 145"/>
              <a:gd name="T14" fmla="*/ 31 w 99"/>
              <a:gd name="T15" fmla="*/ 142 h 145"/>
              <a:gd name="T16" fmla="*/ 11 w 99"/>
              <a:gd name="T17" fmla="*/ 126 h 145"/>
              <a:gd name="T18" fmla="*/ 6 w 99"/>
              <a:gd name="T19" fmla="*/ 115 h 145"/>
              <a:gd name="T20" fmla="*/ 6 w 99"/>
              <a:gd name="T21" fmla="*/ 33 h 145"/>
              <a:gd name="T22" fmla="*/ 68 w 99"/>
              <a:gd name="T23" fmla="*/ 5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9" h="145">
                <a:moveTo>
                  <a:pt x="68" y="55"/>
                </a:moveTo>
                <a:cubicBezTo>
                  <a:pt x="75" y="81"/>
                  <a:pt x="75" y="81"/>
                  <a:pt x="75" y="81"/>
                </a:cubicBezTo>
                <a:cubicBezTo>
                  <a:pt x="96" y="116"/>
                  <a:pt x="96" y="116"/>
                  <a:pt x="96" y="116"/>
                </a:cubicBezTo>
                <a:cubicBezTo>
                  <a:pt x="99" y="121"/>
                  <a:pt x="98" y="127"/>
                  <a:pt x="94" y="131"/>
                </a:cubicBezTo>
                <a:cubicBezTo>
                  <a:pt x="85" y="140"/>
                  <a:pt x="85" y="140"/>
                  <a:pt x="85" y="140"/>
                </a:cubicBezTo>
                <a:cubicBezTo>
                  <a:pt x="83" y="143"/>
                  <a:pt x="79" y="145"/>
                  <a:pt x="75" y="145"/>
                </a:cubicBezTo>
                <a:cubicBezTo>
                  <a:pt x="40" y="145"/>
                  <a:pt x="40" y="145"/>
                  <a:pt x="40" y="145"/>
                </a:cubicBezTo>
                <a:cubicBezTo>
                  <a:pt x="37" y="145"/>
                  <a:pt x="34" y="144"/>
                  <a:pt x="31" y="142"/>
                </a:cubicBezTo>
                <a:cubicBezTo>
                  <a:pt x="11" y="126"/>
                  <a:pt x="11" y="126"/>
                  <a:pt x="11" y="126"/>
                </a:cubicBezTo>
                <a:cubicBezTo>
                  <a:pt x="8" y="123"/>
                  <a:pt x="6" y="119"/>
                  <a:pt x="6" y="115"/>
                </a:cubicBezTo>
                <a:cubicBezTo>
                  <a:pt x="7" y="99"/>
                  <a:pt x="10" y="59"/>
                  <a:pt x="6" y="33"/>
                </a:cubicBezTo>
                <a:cubicBezTo>
                  <a:pt x="0" y="0"/>
                  <a:pt x="68" y="55"/>
                  <a:pt x="68" y="55"/>
                </a:cubicBezTo>
                <a:close/>
              </a:path>
            </a:pathLst>
          </a:custGeom>
          <a:solidFill>
            <a:srgbClr val="2B2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50">
            <a:extLst>
              <a:ext uri="{FF2B5EF4-FFF2-40B4-BE49-F238E27FC236}">
                <a16:creationId xmlns:a16="http://schemas.microsoft.com/office/drawing/2014/main" id="{25901613-CB92-4D93-BB0E-1DC5A5D1E995}"/>
              </a:ext>
            </a:extLst>
          </p:cNvPr>
          <p:cNvSpPr>
            <a:spLocks/>
          </p:cNvSpPr>
          <p:nvPr/>
        </p:nvSpPr>
        <p:spPr bwMode="auto">
          <a:xfrm>
            <a:off x="8698299" y="5858534"/>
            <a:ext cx="354013" cy="523875"/>
          </a:xfrm>
          <a:custGeom>
            <a:avLst/>
            <a:gdLst>
              <a:gd name="T0" fmla="*/ 30 w 98"/>
              <a:gd name="T1" fmla="*/ 55 h 145"/>
              <a:gd name="T2" fmla="*/ 24 w 98"/>
              <a:gd name="T3" fmla="*/ 81 h 145"/>
              <a:gd name="T4" fmla="*/ 3 w 98"/>
              <a:gd name="T5" fmla="*/ 116 h 145"/>
              <a:gd name="T6" fmla="*/ 5 w 98"/>
              <a:gd name="T7" fmla="*/ 131 h 145"/>
              <a:gd name="T8" fmla="*/ 13 w 98"/>
              <a:gd name="T9" fmla="*/ 140 h 145"/>
              <a:gd name="T10" fmla="*/ 24 w 98"/>
              <a:gd name="T11" fmla="*/ 145 h 145"/>
              <a:gd name="T12" fmla="*/ 58 w 98"/>
              <a:gd name="T13" fmla="*/ 145 h 145"/>
              <a:gd name="T14" fmla="*/ 67 w 98"/>
              <a:gd name="T15" fmla="*/ 142 h 145"/>
              <a:gd name="T16" fmla="*/ 87 w 98"/>
              <a:gd name="T17" fmla="*/ 126 h 145"/>
              <a:gd name="T18" fmla="*/ 92 w 98"/>
              <a:gd name="T19" fmla="*/ 115 h 145"/>
              <a:gd name="T20" fmla="*/ 93 w 98"/>
              <a:gd name="T21" fmla="*/ 33 h 145"/>
              <a:gd name="T22" fmla="*/ 30 w 98"/>
              <a:gd name="T23" fmla="*/ 5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8" h="145">
                <a:moveTo>
                  <a:pt x="30" y="55"/>
                </a:moveTo>
                <a:cubicBezTo>
                  <a:pt x="24" y="81"/>
                  <a:pt x="24" y="81"/>
                  <a:pt x="24" y="81"/>
                </a:cubicBezTo>
                <a:cubicBezTo>
                  <a:pt x="3" y="116"/>
                  <a:pt x="3" y="116"/>
                  <a:pt x="3" y="116"/>
                </a:cubicBezTo>
                <a:cubicBezTo>
                  <a:pt x="0" y="121"/>
                  <a:pt x="1" y="127"/>
                  <a:pt x="5" y="131"/>
                </a:cubicBezTo>
                <a:cubicBezTo>
                  <a:pt x="13" y="140"/>
                  <a:pt x="13" y="140"/>
                  <a:pt x="13" y="140"/>
                </a:cubicBezTo>
                <a:cubicBezTo>
                  <a:pt x="16" y="143"/>
                  <a:pt x="20" y="145"/>
                  <a:pt x="24" y="145"/>
                </a:cubicBezTo>
                <a:cubicBezTo>
                  <a:pt x="58" y="145"/>
                  <a:pt x="58" y="145"/>
                  <a:pt x="58" y="145"/>
                </a:cubicBezTo>
                <a:cubicBezTo>
                  <a:pt x="61" y="145"/>
                  <a:pt x="65" y="144"/>
                  <a:pt x="67" y="142"/>
                </a:cubicBezTo>
                <a:cubicBezTo>
                  <a:pt x="87" y="126"/>
                  <a:pt x="87" y="126"/>
                  <a:pt x="87" y="126"/>
                </a:cubicBezTo>
                <a:cubicBezTo>
                  <a:pt x="91" y="123"/>
                  <a:pt x="93" y="119"/>
                  <a:pt x="92" y="115"/>
                </a:cubicBezTo>
                <a:cubicBezTo>
                  <a:pt x="91" y="99"/>
                  <a:pt x="89" y="59"/>
                  <a:pt x="93" y="33"/>
                </a:cubicBezTo>
                <a:cubicBezTo>
                  <a:pt x="98" y="0"/>
                  <a:pt x="30" y="55"/>
                  <a:pt x="30" y="55"/>
                </a:cubicBezTo>
                <a:close/>
              </a:path>
            </a:pathLst>
          </a:custGeom>
          <a:solidFill>
            <a:srgbClr val="2B2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>
            <a:extLst>
              <a:ext uri="{FF2B5EF4-FFF2-40B4-BE49-F238E27FC236}">
                <a16:creationId xmlns:a16="http://schemas.microsoft.com/office/drawing/2014/main" id="{8790F64F-1A92-4DD5-85FA-8C310638CC2A}"/>
              </a:ext>
            </a:extLst>
          </p:cNvPr>
          <p:cNvSpPr>
            <a:spLocks/>
          </p:cNvSpPr>
          <p:nvPr/>
        </p:nvSpPr>
        <p:spPr bwMode="auto">
          <a:xfrm>
            <a:off x="8730049" y="4009096"/>
            <a:ext cx="441325" cy="2095500"/>
          </a:xfrm>
          <a:custGeom>
            <a:avLst/>
            <a:gdLst>
              <a:gd name="T0" fmla="*/ 25 w 122"/>
              <a:gd name="T1" fmla="*/ 1 h 581"/>
              <a:gd name="T2" fmla="*/ 17 w 122"/>
              <a:gd name="T3" fmla="*/ 0 h 581"/>
              <a:gd name="T4" fmla="*/ 11 w 122"/>
              <a:gd name="T5" fmla="*/ 4 h 581"/>
              <a:gd name="T6" fmla="*/ 4 w 122"/>
              <a:gd name="T7" fmla="*/ 82 h 581"/>
              <a:gd name="T8" fmla="*/ 2 w 122"/>
              <a:gd name="T9" fmla="*/ 567 h 581"/>
              <a:gd name="T10" fmla="*/ 58 w 122"/>
              <a:gd name="T11" fmla="*/ 580 h 581"/>
              <a:gd name="T12" fmla="*/ 86 w 122"/>
              <a:gd name="T13" fmla="*/ 578 h 581"/>
              <a:gd name="T14" fmla="*/ 91 w 122"/>
              <a:gd name="T15" fmla="*/ 573 h 581"/>
              <a:gd name="T16" fmla="*/ 119 w 122"/>
              <a:gd name="T17" fmla="*/ 144 h 581"/>
              <a:gd name="T18" fmla="*/ 122 w 122"/>
              <a:gd name="T19" fmla="*/ 140 h 581"/>
              <a:gd name="T20" fmla="*/ 122 w 122"/>
              <a:gd name="T21" fmla="*/ 14 h 581"/>
              <a:gd name="T22" fmla="*/ 25 w 122"/>
              <a:gd name="T23" fmla="*/ 1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2" h="581">
                <a:moveTo>
                  <a:pt x="25" y="1"/>
                </a:moveTo>
                <a:cubicBezTo>
                  <a:pt x="23" y="1"/>
                  <a:pt x="20" y="0"/>
                  <a:pt x="17" y="0"/>
                </a:cubicBezTo>
                <a:cubicBezTo>
                  <a:pt x="14" y="0"/>
                  <a:pt x="11" y="1"/>
                  <a:pt x="11" y="4"/>
                </a:cubicBezTo>
                <a:cubicBezTo>
                  <a:pt x="8" y="29"/>
                  <a:pt x="6" y="55"/>
                  <a:pt x="4" y="82"/>
                </a:cubicBezTo>
                <a:cubicBezTo>
                  <a:pt x="0" y="144"/>
                  <a:pt x="2" y="567"/>
                  <a:pt x="2" y="567"/>
                </a:cubicBezTo>
                <a:cubicBezTo>
                  <a:pt x="2" y="567"/>
                  <a:pt x="1" y="581"/>
                  <a:pt x="58" y="580"/>
                </a:cubicBezTo>
                <a:cubicBezTo>
                  <a:pt x="67" y="580"/>
                  <a:pt x="76" y="579"/>
                  <a:pt x="86" y="578"/>
                </a:cubicBezTo>
                <a:cubicBezTo>
                  <a:pt x="89" y="578"/>
                  <a:pt x="91" y="576"/>
                  <a:pt x="91" y="573"/>
                </a:cubicBezTo>
                <a:cubicBezTo>
                  <a:pt x="92" y="457"/>
                  <a:pt x="108" y="259"/>
                  <a:pt x="119" y="144"/>
                </a:cubicBezTo>
                <a:cubicBezTo>
                  <a:pt x="119" y="142"/>
                  <a:pt x="120" y="140"/>
                  <a:pt x="122" y="140"/>
                </a:cubicBezTo>
                <a:cubicBezTo>
                  <a:pt x="122" y="14"/>
                  <a:pt x="122" y="14"/>
                  <a:pt x="122" y="14"/>
                </a:cubicBezTo>
                <a:cubicBezTo>
                  <a:pt x="90" y="10"/>
                  <a:pt x="58" y="6"/>
                  <a:pt x="25" y="1"/>
                </a:cubicBez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52">
            <a:extLst>
              <a:ext uri="{FF2B5EF4-FFF2-40B4-BE49-F238E27FC236}">
                <a16:creationId xmlns:a16="http://schemas.microsoft.com/office/drawing/2014/main" id="{E567B18D-DAD4-412A-9B62-C76062A2B19C}"/>
              </a:ext>
            </a:extLst>
          </p:cNvPr>
          <p:cNvSpPr>
            <a:spLocks/>
          </p:cNvSpPr>
          <p:nvPr/>
        </p:nvSpPr>
        <p:spPr bwMode="auto">
          <a:xfrm>
            <a:off x="9171374" y="4009096"/>
            <a:ext cx="455613" cy="2095500"/>
          </a:xfrm>
          <a:custGeom>
            <a:avLst/>
            <a:gdLst>
              <a:gd name="T0" fmla="*/ 121 w 126"/>
              <a:gd name="T1" fmla="*/ 82 h 581"/>
              <a:gd name="T2" fmla="*/ 114 w 126"/>
              <a:gd name="T3" fmla="*/ 4 h 581"/>
              <a:gd name="T4" fmla="*/ 109 w 126"/>
              <a:gd name="T5" fmla="*/ 0 h 581"/>
              <a:gd name="T6" fmla="*/ 100 w 126"/>
              <a:gd name="T7" fmla="*/ 1 h 581"/>
              <a:gd name="T8" fmla="*/ 2 w 126"/>
              <a:gd name="T9" fmla="*/ 15 h 581"/>
              <a:gd name="T10" fmla="*/ 1 w 126"/>
              <a:gd name="T11" fmla="*/ 15 h 581"/>
              <a:gd name="T12" fmla="*/ 0 w 126"/>
              <a:gd name="T13" fmla="*/ 14 h 581"/>
              <a:gd name="T14" fmla="*/ 0 w 126"/>
              <a:gd name="T15" fmla="*/ 140 h 581"/>
              <a:gd name="T16" fmla="*/ 7 w 126"/>
              <a:gd name="T17" fmla="*/ 144 h 581"/>
              <a:gd name="T18" fmla="*/ 27 w 126"/>
              <a:gd name="T19" fmla="*/ 573 h 581"/>
              <a:gd name="T20" fmla="*/ 32 w 126"/>
              <a:gd name="T21" fmla="*/ 578 h 581"/>
              <a:gd name="T22" fmla="*/ 60 w 126"/>
              <a:gd name="T23" fmla="*/ 580 h 581"/>
              <a:gd name="T24" fmla="*/ 117 w 126"/>
              <a:gd name="T25" fmla="*/ 567 h 581"/>
              <a:gd name="T26" fmla="*/ 121 w 126"/>
              <a:gd name="T27" fmla="*/ 82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6" h="581">
                <a:moveTo>
                  <a:pt x="121" y="82"/>
                </a:moveTo>
                <a:cubicBezTo>
                  <a:pt x="120" y="55"/>
                  <a:pt x="117" y="29"/>
                  <a:pt x="114" y="4"/>
                </a:cubicBezTo>
                <a:cubicBezTo>
                  <a:pt x="114" y="1"/>
                  <a:pt x="111" y="0"/>
                  <a:pt x="109" y="0"/>
                </a:cubicBezTo>
                <a:cubicBezTo>
                  <a:pt x="106" y="0"/>
                  <a:pt x="103" y="1"/>
                  <a:pt x="100" y="1"/>
                </a:cubicBezTo>
                <a:cubicBezTo>
                  <a:pt x="67" y="6"/>
                  <a:pt x="35" y="10"/>
                  <a:pt x="2" y="15"/>
                </a:cubicBezTo>
                <a:cubicBezTo>
                  <a:pt x="2" y="15"/>
                  <a:pt x="1" y="15"/>
                  <a:pt x="1" y="15"/>
                </a:cubicBezTo>
                <a:cubicBezTo>
                  <a:pt x="1" y="14"/>
                  <a:pt x="1" y="14"/>
                  <a:pt x="0" y="14"/>
                </a:cubicBezTo>
                <a:cubicBezTo>
                  <a:pt x="0" y="140"/>
                  <a:pt x="0" y="140"/>
                  <a:pt x="0" y="140"/>
                </a:cubicBezTo>
                <a:cubicBezTo>
                  <a:pt x="3" y="139"/>
                  <a:pt x="6" y="141"/>
                  <a:pt x="7" y="144"/>
                </a:cubicBezTo>
                <a:cubicBezTo>
                  <a:pt x="17" y="259"/>
                  <a:pt x="27" y="457"/>
                  <a:pt x="27" y="573"/>
                </a:cubicBezTo>
                <a:cubicBezTo>
                  <a:pt x="27" y="576"/>
                  <a:pt x="30" y="578"/>
                  <a:pt x="32" y="578"/>
                </a:cubicBezTo>
                <a:cubicBezTo>
                  <a:pt x="43" y="579"/>
                  <a:pt x="52" y="580"/>
                  <a:pt x="60" y="580"/>
                </a:cubicBezTo>
                <a:cubicBezTo>
                  <a:pt x="117" y="581"/>
                  <a:pt x="117" y="567"/>
                  <a:pt x="117" y="567"/>
                </a:cubicBezTo>
                <a:cubicBezTo>
                  <a:pt x="117" y="567"/>
                  <a:pt x="126" y="144"/>
                  <a:pt x="121" y="82"/>
                </a:cubicBez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53">
            <a:extLst>
              <a:ext uri="{FF2B5EF4-FFF2-40B4-BE49-F238E27FC236}">
                <a16:creationId xmlns:a16="http://schemas.microsoft.com/office/drawing/2014/main" id="{8BDD740D-9598-4DFD-B62C-9D02E0A4C69B}"/>
              </a:ext>
            </a:extLst>
          </p:cNvPr>
          <p:cNvSpPr>
            <a:spLocks/>
          </p:cNvSpPr>
          <p:nvPr/>
        </p:nvSpPr>
        <p:spPr bwMode="auto">
          <a:xfrm>
            <a:off x="9069774" y="2645434"/>
            <a:ext cx="300038" cy="257175"/>
          </a:xfrm>
          <a:custGeom>
            <a:avLst/>
            <a:gdLst>
              <a:gd name="T0" fmla="*/ 185 w 189"/>
              <a:gd name="T1" fmla="*/ 0 h 162"/>
              <a:gd name="T2" fmla="*/ 185 w 189"/>
              <a:gd name="T3" fmla="*/ 9 h 162"/>
              <a:gd name="T4" fmla="*/ 189 w 189"/>
              <a:gd name="T5" fmla="*/ 75 h 162"/>
              <a:gd name="T6" fmla="*/ 93 w 189"/>
              <a:gd name="T7" fmla="*/ 162 h 162"/>
              <a:gd name="T8" fmla="*/ 59 w 189"/>
              <a:gd name="T9" fmla="*/ 130 h 162"/>
              <a:gd name="T10" fmla="*/ 5 w 189"/>
              <a:gd name="T11" fmla="*/ 82 h 162"/>
              <a:gd name="T12" fmla="*/ 0 w 189"/>
              <a:gd name="T13" fmla="*/ 0 h 162"/>
              <a:gd name="T14" fmla="*/ 185 w 189"/>
              <a:gd name="T15" fmla="*/ 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9" h="162">
                <a:moveTo>
                  <a:pt x="185" y="0"/>
                </a:moveTo>
                <a:lnTo>
                  <a:pt x="185" y="9"/>
                </a:lnTo>
                <a:lnTo>
                  <a:pt x="189" y="75"/>
                </a:lnTo>
                <a:lnTo>
                  <a:pt x="93" y="162"/>
                </a:lnTo>
                <a:lnTo>
                  <a:pt x="59" y="130"/>
                </a:lnTo>
                <a:lnTo>
                  <a:pt x="5" y="82"/>
                </a:lnTo>
                <a:lnTo>
                  <a:pt x="0" y="0"/>
                </a:lnTo>
                <a:lnTo>
                  <a:pt x="185" y="0"/>
                </a:lnTo>
                <a:close/>
              </a:path>
            </a:pathLst>
          </a:custGeom>
          <a:solidFill>
            <a:srgbClr val="E2A77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54">
            <a:extLst>
              <a:ext uri="{FF2B5EF4-FFF2-40B4-BE49-F238E27FC236}">
                <a16:creationId xmlns:a16="http://schemas.microsoft.com/office/drawing/2014/main" id="{C7F8B583-3F30-4161-AAAF-36656E247EB7}"/>
              </a:ext>
            </a:extLst>
          </p:cNvPr>
          <p:cNvSpPr>
            <a:spLocks/>
          </p:cNvSpPr>
          <p:nvPr/>
        </p:nvSpPr>
        <p:spPr bwMode="auto">
          <a:xfrm>
            <a:off x="9185661" y="2173946"/>
            <a:ext cx="266700" cy="569913"/>
          </a:xfrm>
          <a:custGeom>
            <a:avLst/>
            <a:gdLst>
              <a:gd name="T0" fmla="*/ 2 w 74"/>
              <a:gd name="T1" fmla="*/ 21 h 158"/>
              <a:gd name="T2" fmla="*/ 16 w 74"/>
              <a:gd name="T3" fmla="*/ 13 h 158"/>
              <a:gd name="T4" fmla="*/ 35 w 74"/>
              <a:gd name="T5" fmla="*/ 3 h 158"/>
              <a:gd name="T6" fmla="*/ 50 w 74"/>
              <a:gd name="T7" fmla="*/ 1 h 158"/>
              <a:gd name="T8" fmla="*/ 64 w 74"/>
              <a:gd name="T9" fmla="*/ 18 h 158"/>
              <a:gd name="T10" fmla="*/ 62 w 74"/>
              <a:gd name="T11" fmla="*/ 65 h 158"/>
              <a:gd name="T12" fmla="*/ 66 w 74"/>
              <a:gd name="T13" fmla="*/ 69 h 158"/>
              <a:gd name="T14" fmla="*/ 68 w 74"/>
              <a:gd name="T15" fmla="*/ 65 h 158"/>
              <a:gd name="T16" fmla="*/ 74 w 74"/>
              <a:gd name="T17" fmla="*/ 69 h 158"/>
              <a:gd name="T18" fmla="*/ 70 w 74"/>
              <a:gd name="T19" fmla="*/ 95 h 158"/>
              <a:gd name="T20" fmla="*/ 61 w 74"/>
              <a:gd name="T21" fmla="*/ 105 h 158"/>
              <a:gd name="T22" fmla="*/ 57 w 74"/>
              <a:gd name="T23" fmla="*/ 121 h 158"/>
              <a:gd name="T24" fmla="*/ 53 w 74"/>
              <a:gd name="T25" fmla="*/ 130 h 158"/>
              <a:gd name="T26" fmla="*/ 38 w 74"/>
              <a:gd name="T27" fmla="*/ 143 h 158"/>
              <a:gd name="T28" fmla="*/ 23 w 74"/>
              <a:gd name="T29" fmla="*/ 156 h 158"/>
              <a:gd name="T30" fmla="*/ 10 w 74"/>
              <a:gd name="T31" fmla="*/ 158 h 158"/>
              <a:gd name="T32" fmla="*/ 8 w 74"/>
              <a:gd name="T33" fmla="*/ 158 h 158"/>
              <a:gd name="T34" fmla="*/ 0 w 74"/>
              <a:gd name="T35" fmla="*/ 20 h 158"/>
              <a:gd name="T36" fmla="*/ 2 w 74"/>
              <a:gd name="T37" fmla="*/ 21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4" h="158">
                <a:moveTo>
                  <a:pt x="2" y="21"/>
                </a:moveTo>
                <a:cubicBezTo>
                  <a:pt x="7" y="22"/>
                  <a:pt x="13" y="16"/>
                  <a:pt x="16" y="13"/>
                </a:cubicBezTo>
                <a:cubicBezTo>
                  <a:pt x="22" y="9"/>
                  <a:pt x="28" y="5"/>
                  <a:pt x="35" y="3"/>
                </a:cubicBezTo>
                <a:cubicBezTo>
                  <a:pt x="40" y="1"/>
                  <a:pt x="45" y="0"/>
                  <a:pt x="50" y="1"/>
                </a:cubicBezTo>
                <a:cubicBezTo>
                  <a:pt x="58" y="4"/>
                  <a:pt x="63" y="11"/>
                  <a:pt x="64" y="18"/>
                </a:cubicBezTo>
                <a:cubicBezTo>
                  <a:pt x="67" y="34"/>
                  <a:pt x="59" y="49"/>
                  <a:pt x="62" y="65"/>
                </a:cubicBezTo>
                <a:cubicBezTo>
                  <a:pt x="62" y="67"/>
                  <a:pt x="63" y="72"/>
                  <a:pt x="66" y="69"/>
                </a:cubicBezTo>
                <a:cubicBezTo>
                  <a:pt x="68" y="68"/>
                  <a:pt x="67" y="66"/>
                  <a:pt x="68" y="65"/>
                </a:cubicBezTo>
                <a:cubicBezTo>
                  <a:pt x="72" y="62"/>
                  <a:pt x="73" y="66"/>
                  <a:pt x="74" y="69"/>
                </a:cubicBezTo>
                <a:cubicBezTo>
                  <a:pt x="74" y="77"/>
                  <a:pt x="74" y="87"/>
                  <a:pt x="70" y="95"/>
                </a:cubicBezTo>
                <a:cubicBezTo>
                  <a:pt x="68" y="100"/>
                  <a:pt x="64" y="102"/>
                  <a:pt x="61" y="105"/>
                </a:cubicBezTo>
                <a:cubicBezTo>
                  <a:pt x="57" y="109"/>
                  <a:pt x="58" y="116"/>
                  <a:pt x="57" y="121"/>
                </a:cubicBezTo>
                <a:cubicBezTo>
                  <a:pt x="56" y="124"/>
                  <a:pt x="55" y="127"/>
                  <a:pt x="53" y="130"/>
                </a:cubicBezTo>
                <a:cubicBezTo>
                  <a:pt x="49" y="135"/>
                  <a:pt x="42" y="138"/>
                  <a:pt x="38" y="143"/>
                </a:cubicBezTo>
                <a:cubicBezTo>
                  <a:pt x="33" y="148"/>
                  <a:pt x="29" y="153"/>
                  <a:pt x="23" y="156"/>
                </a:cubicBezTo>
                <a:cubicBezTo>
                  <a:pt x="20" y="158"/>
                  <a:pt x="14" y="158"/>
                  <a:pt x="10" y="158"/>
                </a:cubicBezTo>
                <a:cubicBezTo>
                  <a:pt x="9" y="158"/>
                  <a:pt x="8" y="158"/>
                  <a:pt x="8" y="158"/>
                </a:cubicBezTo>
                <a:cubicBezTo>
                  <a:pt x="0" y="20"/>
                  <a:pt x="0" y="20"/>
                  <a:pt x="0" y="20"/>
                </a:cubicBezTo>
                <a:cubicBezTo>
                  <a:pt x="1" y="20"/>
                  <a:pt x="2" y="20"/>
                  <a:pt x="2" y="21"/>
                </a:cubicBezTo>
                <a:close/>
              </a:path>
            </a:pathLst>
          </a:custGeom>
          <a:solidFill>
            <a:srgbClr val="FFC2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55">
            <a:extLst>
              <a:ext uri="{FF2B5EF4-FFF2-40B4-BE49-F238E27FC236}">
                <a16:creationId xmlns:a16="http://schemas.microsoft.com/office/drawing/2014/main" id="{71D4832D-D727-4A64-9BD9-9A680ECCC8FA}"/>
              </a:ext>
            </a:extLst>
          </p:cNvPr>
          <p:cNvSpPr>
            <a:spLocks/>
          </p:cNvSpPr>
          <p:nvPr/>
        </p:nvSpPr>
        <p:spPr bwMode="auto">
          <a:xfrm>
            <a:off x="8968174" y="2195334"/>
            <a:ext cx="260350" cy="558800"/>
          </a:xfrm>
          <a:custGeom>
            <a:avLst/>
            <a:gdLst>
              <a:gd name="T0" fmla="*/ 0 w 72"/>
              <a:gd name="T1" fmla="*/ 71 h 155"/>
              <a:gd name="T2" fmla="*/ 5 w 72"/>
              <a:gd name="T3" fmla="*/ 67 h 155"/>
              <a:gd name="T4" fmla="*/ 8 w 72"/>
              <a:gd name="T5" fmla="*/ 71 h 155"/>
              <a:gd name="T6" fmla="*/ 12 w 72"/>
              <a:gd name="T7" fmla="*/ 66 h 155"/>
              <a:gd name="T8" fmla="*/ 8 w 72"/>
              <a:gd name="T9" fmla="*/ 42 h 155"/>
              <a:gd name="T10" fmla="*/ 11 w 72"/>
              <a:gd name="T11" fmla="*/ 20 h 155"/>
              <a:gd name="T12" fmla="*/ 22 w 72"/>
              <a:gd name="T13" fmla="*/ 4 h 155"/>
              <a:gd name="T14" fmla="*/ 40 w 72"/>
              <a:gd name="T15" fmla="*/ 2 h 155"/>
              <a:gd name="T16" fmla="*/ 53 w 72"/>
              <a:gd name="T17" fmla="*/ 11 h 155"/>
              <a:gd name="T18" fmla="*/ 64 w 72"/>
              <a:gd name="T19" fmla="*/ 16 h 155"/>
              <a:gd name="T20" fmla="*/ 72 w 72"/>
              <a:gd name="T21" fmla="*/ 154 h 155"/>
              <a:gd name="T22" fmla="*/ 60 w 72"/>
              <a:gd name="T23" fmla="*/ 153 h 155"/>
              <a:gd name="T24" fmla="*/ 44 w 72"/>
              <a:gd name="T25" fmla="*/ 142 h 155"/>
              <a:gd name="T26" fmla="*/ 27 w 72"/>
              <a:gd name="T27" fmla="*/ 130 h 155"/>
              <a:gd name="T28" fmla="*/ 22 w 72"/>
              <a:gd name="T29" fmla="*/ 122 h 155"/>
              <a:gd name="T30" fmla="*/ 17 w 72"/>
              <a:gd name="T31" fmla="*/ 106 h 155"/>
              <a:gd name="T32" fmla="*/ 7 w 72"/>
              <a:gd name="T33" fmla="*/ 97 h 155"/>
              <a:gd name="T34" fmla="*/ 0 w 72"/>
              <a:gd name="T35" fmla="*/ 7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155">
                <a:moveTo>
                  <a:pt x="0" y="71"/>
                </a:moveTo>
                <a:cubicBezTo>
                  <a:pt x="0" y="69"/>
                  <a:pt x="2" y="64"/>
                  <a:pt x="5" y="67"/>
                </a:cubicBezTo>
                <a:cubicBezTo>
                  <a:pt x="7" y="68"/>
                  <a:pt x="6" y="70"/>
                  <a:pt x="8" y="71"/>
                </a:cubicBezTo>
                <a:cubicBezTo>
                  <a:pt x="12" y="73"/>
                  <a:pt x="12" y="68"/>
                  <a:pt x="12" y="66"/>
                </a:cubicBezTo>
                <a:cubicBezTo>
                  <a:pt x="12" y="58"/>
                  <a:pt x="8" y="50"/>
                  <a:pt x="8" y="42"/>
                </a:cubicBezTo>
                <a:cubicBezTo>
                  <a:pt x="9" y="35"/>
                  <a:pt x="8" y="27"/>
                  <a:pt x="11" y="20"/>
                </a:cubicBezTo>
                <a:cubicBezTo>
                  <a:pt x="13" y="14"/>
                  <a:pt x="17" y="8"/>
                  <a:pt x="22" y="4"/>
                </a:cubicBezTo>
                <a:cubicBezTo>
                  <a:pt x="28" y="1"/>
                  <a:pt x="34" y="0"/>
                  <a:pt x="40" y="2"/>
                </a:cubicBezTo>
                <a:cubicBezTo>
                  <a:pt x="46" y="3"/>
                  <a:pt x="49" y="7"/>
                  <a:pt x="53" y="11"/>
                </a:cubicBezTo>
                <a:cubicBezTo>
                  <a:pt x="57" y="15"/>
                  <a:pt x="58" y="15"/>
                  <a:pt x="64" y="16"/>
                </a:cubicBezTo>
                <a:cubicBezTo>
                  <a:pt x="72" y="154"/>
                  <a:pt x="72" y="154"/>
                  <a:pt x="72" y="154"/>
                </a:cubicBezTo>
                <a:cubicBezTo>
                  <a:pt x="67" y="155"/>
                  <a:pt x="63" y="155"/>
                  <a:pt x="60" y="153"/>
                </a:cubicBezTo>
                <a:cubicBezTo>
                  <a:pt x="53" y="151"/>
                  <a:pt x="49" y="146"/>
                  <a:pt x="44" y="142"/>
                </a:cubicBezTo>
                <a:cubicBezTo>
                  <a:pt x="39" y="137"/>
                  <a:pt x="32" y="135"/>
                  <a:pt x="27" y="130"/>
                </a:cubicBezTo>
                <a:cubicBezTo>
                  <a:pt x="25" y="128"/>
                  <a:pt x="23" y="125"/>
                  <a:pt x="22" y="122"/>
                </a:cubicBezTo>
                <a:cubicBezTo>
                  <a:pt x="21" y="117"/>
                  <a:pt x="21" y="110"/>
                  <a:pt x="17" y="106"/>
                </a:cubicBezTo>
                <a:cubicBezTo>
                  <a:pt x="13" y="103"/>
                  <a:pt x="10" y="102"/>
                  <a:pt x="7" y="97"/>
                </a:cubicBezTo>
                <a:cubicBezTo>
                  <a:pt x="2" y="90"/>
                  <a:pt x="0" y="80"/>
                  <a:pt x="0" y="71"/>
                </a:cubicBezTo>
                <a:close/>
              </a:path>
            </a:pathLst>
          </a:custGeom>
          <a:solidFill>
            <a:srgbClr val="FFCC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56">
            <a:extLst>
              <a:ext uri="{FF2B5EF4-FFF2-40B4-BE49-F238E27FC236}">
                <a16:creationId xmlns:a16="http://schemas.microsoft.com/office/drawing/2014/main" id="{1A3FBF45-04C6-4688-9C0E-976DACC881BA}"/>
              </a:ext>
            </a:extLst>
          </p:cNvPr>
          <p:cNvSpPr>
            <a:spLocks/>
          </p:cNvSpPr>
          <p:nvPr/>
        </p:nvSpPr>
        <p:spPr bwMode="auto">
          <a:xfrm>
            <a:off x="8947128" y="2118295"/>
            <a:ext cx="517525" cy="393700"/>
          </a:xfrm>
          <a:custGeom>
            <a:avLst/>
            <a:gdLst>
              <a:gd name="T0" fmla="*/ 137 w 143"/>
              <a:gd name="T1" fmla="*/ 85 h 109"/>
              <a:gd name="T2" fmla="*/ 136 w 143"/>
              <a:gd name="T3" fmla="*/ 100 h 109"/>
              <a:gd name="T4" fmla="*/ 129 w 143"/>
              <a:gd name="T5" fmla="*/ 100 h 109"/>
              <a:gd name="T6" fmla="*/ 129 w 143"/>
              <a:gd name="T7" fmla="*/ 97 h 109"/>
              <a:gd name="T8" fmla="*/ 129 w 143"/>
              <a:gd name="T9" fmla="*/ 88 h 109"/>
              <a:gd name="T10" fmla="*/ 102 w 143"/>
              <a:gd name="T11" fmla="*/ 40 h 109"/>
              <a:gd name="T12" fmla="*/ 89 w 143"/>
              <a:gd name="T13" fmla="*/ 48 h 109"/>
              <a:gd name="T14" fmla="*/ 47 w 143"/>
              <a:gd name="T15" fmla="*/ 48 h 109"/>
              <a:gd name="T16" fmla="*/ 21 w 143"/>
              <a:gd name="T17" fmla="*/ 44 h 109"/>
              <a:gd name="T18" fmla="*/ 18 w 143"/>
              <a:gd name="T19" fmla="*/ 69 h 109"/>
              <a:gd name="T20" fmla="*/ 17 w 143"/>
              <a:gd name="T21" fmla="*/ 95 h 109"/>
              <a:gd name="T22" fmla="*/ 18 w 143"/>
              <a:gd name="T23" fmla="*/ 105 h 109"/>
              <a:gd name="T24" fmla="*/ 9 w 143"/>
              <a:gd name="T25" fmla="*/ 93 h 109"/>
              <a:gd name="T26" fmla="*/ 4 w 143"/>
              <a:gd name="T27" fmla="*/ 65 h 109"/>
              <a:gd name="T28" fmla="*/ 3 w 143"/>
              <a:gd name="T29" fmla="*/ 36 h 109"/>
              <a:gd name="T30" fmla="*/ 51 w 143"/>
              <a:gd name="T31" fmla="*/ 4 h 109"/>
              <a:gd name="T32" fmla="*/ 108 w 143"/>
              <a:gd name="T33" fmla="*/ 7 h 109"/>
              <a:gd name="T34" fmla="*/ 133 w 143"/>
              <a:gd name="T35" fmla="*/ 19 h 109"/>
              <a:gd name="T36" fmla="*/ 140 w 143"/>
              <a:gd name="T37" fmla="*/ 45 h 109"/>
              <a:gd name="T38" fmla="*/ 137 w 143"/>
              <a:gd name="T39" fmla="*/ 85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3" h="109">
                <a:moveTo>
                  <a:pt x="137" y="85"/>
                </a:moveTo>
                <a:cubicBezTo>
                  <a:pt x="136" y="90"/>
                  <a:pt x="136" y="95"/>
                  <a:pt x="13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29" y="99"/>
                  <a:pt x="129" y="98"/>
                  <a:pt x="129" y="97"/>
                </a:cubicBezTo>
                <a:cubicBezTo>
                  <a:pt x="129" y="94"/>
                  <a:pt x="129" y="91"/>
                  <a:pt x="129" y="88"/>
                </a:cubicBezTo>
                <a:cubicBezTo>
                  <a:pt x="127" y="73"/>
                  <a:pt x="132" y="25"/>
                  <a:pt x="102" y="40"/>
                </a:cubicBezTo>
                <a:cubicBezTo>
                  <a:pt x="97" y="42"/>
                  <a:pt x="93" y="45"/>
                  <a:pt x="89" y="48"/>
                </a:cubicBezTo>
                <a:cubicBezTo>
                  <a:pt x="76" y="55"/>
                  <a:pt x="60" y="55"/>
                  <a:pt x="47" y="48"/>
                </a:cubicBezTo>
                <a:cubicBezTo>
                  <a:pt x="40" y="44"/>
                  <a:pt x="29" y="36"/>
                  <a:pt x="21" y="44"/>
                </a:cubicBezTo>
                <a:cubicBezTo>
                  <a:pt x="16" y="49"/>
                  <a:pt x="18" y="62"/>
                  <a:pt x="18" y="69"/>
                </a:cubicBezTo>
                <a:cubicBezTo>
                  <a:pt x="17" y="78"/>
                  <a:pt x="16" y="86"/>
                  <a:pt x="17" y="95"/>
                </a:cubicBezTo>
                <a:cubicBezTo>
                  <a:pt x="17" y="98"/>
                  <a:pt x="18" y="102"/>
                  <a:pt x="18" y="105"/>
                </a:cubicBezTo>
                <a:cubicBezTo>
                  <a:pt x="9" y="109"/>
                  <a:pt x="11" y="98"/>
                  <a:pt x="9" y="93"/>
                </a:cubicBezTo>
                <a:cubicBezTo>
                  <a:pt x="6" y="83"/>
                  <a:pt x="5" y="75"/>
                  <a:pt x="4" y="65"/>
                </a:cubicBezTo>
                <a:cubicBezTo>
                  <a:pt x="4" y="56"/>
                  <a:pt x="0" y="46"/>
                  <a:pt x="3" y="36"/>
                </a:cubicBezTo>
                <a:cubicBezTo>
                  <a:pt x="9" y="18"/>
                  <a:pt x="34" y="8"/>
                  <a:pt x="51" y="4"/>
                </a:cubicBezTo>
                <a:cubicBezTo>
                  <a:pt x="70" y="0"/>
                  <a:pt x="90" y="1"/>
                  <a:pt x="108" y="7"/>
                </a:cubicBezTo>
                <a:cubicBezTo>
                  <a:pt x="116" y="9"/>
                  <a:pt x="127" y="13"/>
                  <a:pt x="133" y="19"/>
                </a:cubicBezTo>
                <a:cubicBezTo>
                  <a:pt x="138" y="25"/>
                  <a:pt x="139" y="37"/>
                  <a:pt x="140" y="45"/>
                </a:cubicBezTo>
                <a:cubicBezTo>
                  <a:pt x="143" y="58"/>
                  <a:pt x="140" y="72"/>
                  <a:pt x="137" y="85"/>
                </a:cubicBezTo>
                <a:close/>
              </a:path>
            </a:pathLst>
          </a:custGeom>
          <a:solidFill>
            <a:srgbClr val="58595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57">
            <a:extLst>
              <a:ext uri="{FF2B5EF4-FFF2-40B4-BE49-F238E27FC236}">
                <a16:creationId xmlns:a16="http://schemas.microsoft.com/office/drawing/2014/main" id="{967187C7-9514-4504-BB7A-7C3DF0536066}"/>
              </a:ext>
            </a:extLst>
          </p:cNvPr>
          <p:cNvSpPr>
            <a:spLocks/>
          </p:cNvSpPr>
          <p:nvPr/>
        </p:nvSpPr>
        <p:spPr bwMode="auto">
          <a:xfrm>
            <a:off x="8398261" y="2793071"/>
            <a:ext cx="790575" cy="1663700"/>
          </a:xfrm>
          <a:custGeom>
            <a:avLst/>
            <a:gdLst>
              <a:gd name="T0" fmla="*/ 217 w 219"/>
              <a:gd name="T1" fmla="*/ 133 h 461"/>
              <a:gd name="T2" fmla="*/ 216 w 219"/>
              <a:gd name="T3" fmla="*/ 136 h 461"/>
              <a:gd name="T4" fmla="*/ 215 w 219"/>
              <a:gd name="T5" fmla="*/ 138 h 461"/>
              <a:gd name="T6" fmla="*/ 215 w 219"/>
              <a:gd name="T7" fmla="*/ 137 h 461"/>
              <a:gd name="T8" fmla="*/ 195 w 219"/>
              <a:gd name="T9" fmla="*/ 56 h 461"/>
              <a:gd name="T10" fmla="*/ 181 w 219"/>
              <a:gd name="T11" fmla="*/ 0 h 461"/>
              <a:gd name="T12" fmla="*/ 180 w 219"/>
              <a:gd name="T13" fmla="*/ 1 h 461"/>
              <a:gd name="T14" fmla="*/ 160 w 219"/>
              <a:gd name="T15" fmla="*/ 14 h 461"/>
              <a:gd name="T16" fmla="*/ 160 w 219"/>
              <a:gd name="T17" fmla="*/ 12 h 461"/>
              <a:gd name="T18" fmla="*/ 157 w 219"/>
              <a:gd name="T19" fmla="*/ 12 h 461"/>
              <a:gd name="T20" fmla="*/ 65 w 219"/>
              <a:gd name="T21" fmla="*/ 60 h 461"/>
              <a:gd name="T22" fmla="*/ 42 w 219"/>
              <a:gd name="T23" fmla="*/ 148 h 461"/>
              <a:gd name="T24" fmla="*/ 23 w 219"/>
              <a:gd name="T25" fmla="*/ 267 h 461"/>
              <a:gd name="T26" fmla="*/ 0 w 219"/>
              <a:gd name="T27" fmla="*/ 421 h 461"/>
              <a:gd name="T28" fmla="*/ 67 w 219"/>
              <a:gd name="T29" fmla="*/ 426 h 461"/>
              <a:gd name="T30" fmla="*/ 91 w 219"/>
              <a:gd name="T31" fmla="*/ 275 h 461"/>
              <a:gd name="T32" fmla="*/ 111 w 219"/>
              <a:gd name="T33" fmla="*/ 172 h 461"/>
              <a:gd name="T34" fmla="*/ 113 w 219"/>
              <a:gd name="T35" fmla="*/ 190 h 461"/>
              <a:gd name="T36" fmla="*/ 110 w 219"/>
              <a:gd name="T37" fmla="*/ 223 h 461"/>
              <a:gd name="T38" fmla="*/ 105 w 219"/>
              <a:gd name="T39" fmla="*/ 292 h 461"/>
              <a:gd name="T40" fmla="*/ 93 w 219"/>
              <a:gd name="T41" fmla="*/ 438 h 461"/>
              <a:gd name="T42" fmla="*/ 92 w 219"/>
              <a:gd name="T43" fmla="*/ 451 h 461"/>
              <a:gd name="T44" fmla="*/ 208 w 219"/>
              <a:gd name="T45" fmla="*/ 460 h 461"/>
              <a:gd name="T46" fmla="*/ 216 w 219"/>
              <a:gd name="T47" fmla="*/ 251 h 461"/>
              <a:gd name="T48" fmla="*/ 217 w 219"/>
              <a:gd name="T49" fmla="*/ 133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19" h="461">
                <a:moveTo>
                  <a:pt x="217" y="133"/>
                </a:moveTo>
                <a:cubicBezTo>
                  <a:pt x="217" y="133"/>
                  <a:pt x="217" y="133"/>
                  <a:pt x="216" y="136"/>
                </a:cubicBezTo>
                <a:cubicBezTo>
                  <a:pt x="215" y="137"/>
                  <a:pt x="215" y="138"/>
                  <a:pt x="215" y="138"/>
                </a:cubicBezTo>
                <a:cubicBezTo>
                  <a:pt x="215" y="137"/>
                  <a:pt x="215" y="137"/>
                  <a:pt x="215" y="137"/>
                </a:cubicBezTo>
                <a:cubicBezTo>
                  <a:pt x="195" y="56"/>
                  <a:pt x="195" y="56"/>
                  <a:pt x="195" y="56"/>
                </a:cubicBezTo>
                <a:cubicBezTo>
                  <a:pt x="181" y="0"/>
                  <a:pt x="181" y="0"/>
                  <a:pt x="181" y="0"/>
                </a:cubicBezTo>
                <a:cubicBezTo>
                  <a:pt x="181" y="0"/>
                  <a:pt x="181" y="0"/>
                  <a:pt x="180" y="1"/>
                </a:cubicBezTo>
                <a:cubicBezTo>
                  <a:pt x="177" y="2"/>
                  <a:pt x="169" y="11"/>
                  <a:pt x="160" y="14"/>
                </a:cubicBezTo>
                <a:cubicBezTo>
                  <a:pt x="160" y="13"/>
                  <a:pt x="160" y="13"/>
                  <a:pt x="160" y="12"/>
                </a:cubicBezTo>
                <a:cubicBezTo>
                  <a:pt x="159" y="12"/>
                  <a:pt x="158" y="12"/>
                  <a:pt x="157" y="12"/>
                </a:cubicBezTo>
                <a:cubicBezTo>
                  <a:pt x="117" y="20"/>
                  <a:pt x="84" y="23"/>
                  <a:pt x="65" y="60"/>
                </a:cubicBezTo>
                <a:cubicBezTo>
                  <a:pt x="51" y="88"/>
                  <a:pt x="48" y="118"/>
                  <a:pt x="42" y="148"/>
                </a:cubicBezTo>
                <a:cubicBezTo>
                  <a:pt x="34" y="187"/>
                  <a:pt x="29" y="227"/>
                  <a:pt x="23" y="267"/>
                </a:cubicBezTo>
                <a:cubicBezTo>
                  <a:pt x="17" y="303"/>
                  <a:pt x="9" y="385"/>
                  <a:pt x="0" y="421"/>
                </a:cubicBezTo>
                <a:cubicBezTo>
                  <a:pt x="12" y="424"/>
                  <a:pt x="59" y="425"/>
                  <a:pt x="67" y="426"/>
                </a:cubicBezTo>
                <a:cubicBezTo>
                  <a:pt x="67" y="416"/>
                  <a:pt x="89" y="284"/>
                  <a:pt x="91" y="275"/>
                </a:cubicBezTo>
                <a:cubicBezTo>
                  <a:pt x="93" y="266"/>
                  <a:pt x="103" y="184"/>
                  <a:pt x="111" y="172"/>
                </a:cubicBezTo>
                <a:cubicBezTo>
                  <a:pt x="107" y="178"/>
                  <a:pt x="112" y="185"/>
                  <a:pt x="113" y="190"/>
                </a:cubicBezTo>
                <a:cubicBezTo>
                  <a:pt x="114" y="201"/>
                  <a:pt x="111" y="212"/>
                  <a:pt x="110" y="223"/>
                </a:cubicBezTo>
                <a:cubicBezTo>
                  <a:pt x="106" y="246"/>
                  <a:pt x="106" y="269"/>
                  <a:pt x="105" y="292"/>
                </a:cubicBezTo>
                <a:cubicBezTo>
                  <a:pt x="101" y="341"/>
                  <a:pt x="98" y="390"/>
                  <a:pt x="93" y="438"/>
                </a:cubicBezTo>
                <a:cubicBezTo>
                  <a:pt x="92" y="442"/>
                  <a:pt x="92" y="447"/>
                  <a:pt x="92" y="451"/>
                </a:cubicBezTo>
                <a:cubicBezTo>
                  <a:pt x="92" y="445"/>
                  <a:pt x="201" y="461"/>
                  <a:pt x="208" y="460"/>
                </a:cubicBezTo>
                <a:cubicBezTo>
                  <a:pt x="209" y="411"/>
                  <a:pt x="215" y="296"/>
                  <a:pt x="216" y="251"/>
                </a:cubicBezTo>
                <a:cubicBezTo>
                  <a:pt x="216" y="251"/>
                  <a:pt x="219" y="133"/>
                  <a:pt x="217" y="133"/>
                </a:cubicBez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58">
            <a:extLst>
              <a:ext uri="{FF2B5EF4-FFF2-40B4-BE49-F238E27FC236}">
                <a16:creationId xmlns:a16="http://schemas.microsoft.com/office/drawing/2014/main" id="{C3684C9E-386F-40C1-B8C0-D0515AA1A9AC}"/>
              </a:ext>
            </a:extLst>
          </p:cNvPr>
          <p:cNvSpPr>
            <a:spLocks/>
          </p:cNvSpPr>
          <p:nvPr/>
        </p:nvSpPr>
        <p:spPr bwMode="auto">
          <a:xfrm>
            <a:off x="9157086" y="2815296"/>
            <a:ext cx="1079500" cy="1636713"/>
          </a:xfrm>
          <a:custGeom>
            <a:avLst/>
            <a:gdLst>
              <a:gd name="T0" fmla="*/ 288 w 299"/>
              <a:gd name="T1" fmla="*/ 143 h 454"/>
              <a:gd name="T2" fmla="*/ 195 w 299"/>
              <a:gd name="T3" fmla="*/ 181 h 454"/>
              <a:gd name="T4" fmla="*/ 175 w 299"/>
              <a:gd name="T5" fmla="*/ 90 h 454"/>
              <a:gd name="T6" fmla="*/ 160 w 299"/>
              <a:gd name="T7" fmla="*/ 40 h 454"/>
              <a:gd name="T8" fmla="*/ 94 w 299"/>
              <a:gd name="T9" fmla="*/ 9 h 454"/>
              <a:gd name="T10" fmla="*/ 76 w 299"/>
              <a:gd name="T11" fmla="*/ 2 h 454"/>
              <a:gd name="T12" fmla="*/ 54 w 299"/>
              <a:gd name="T13" fmla="*/ 24 h 454"/>
              <a:gd name="T14" fmla="*/ 37 w 299"/>
              <a:gd name="T15" fmla="*/ 64 h 454"/>
              <a:gd name="T16" fmla="*/ 19 w 299"/>
              <a:gd name="T17" fmla="*/ 93 h 454"/>
              <a:gd name="T18" fmla="*/ 2 w 299"/>
              <a:gd name="T19" fmla="*/ 151 h 454"/>
              <a:gd name="T20" fmla="*/ 5 w 299"/>
              <a:gd name="T21" fmla="*/ 189 h 454"/>
              <a:gd name="T22" fmla="*/ 1 w 299"/>
              <a:gd name="T23" fmla="*/ 372 h 454"/>
              <a:gd name="T24" fmla="*/ 4 w 299"/>
              <a:gd name="T25" fmla="*/ 454 h 454"/>
              <a:gd name="T26" fmla="*/ 133 w 299"/>
              <a:gd name="T27" fmla="*/ 445 h 454"/>
              <a:gd name="T28" fmla="*/ 120 w 299"/>
              <a:gd name="T29" fmla="*/ 285 h 454"/>
              <a:gd name="T30" fmla="*/ 116 w 299"/>
              <a:gd name="T31" fmla="*/ 173 h 454"/>
              <a:gd name="T32" fmla="*/ 137 w 299"/>
              <a:gd name="T33" fmla="*/ 216 h 454"/>
              <a:gd name="T34" fmla="*/ 160 w 299"/>
              <a:gd name="T35" fmla="*/ 244 h 454"/>
              <a:gd name="T36" fmla="*/ 206 w 299"/>
              <a:gd name="T37" fmla="*/ 249 h 454"/>
              <a:gd name="T38" fmla="*/ 299 w 299"/>
              <a:gd name="T39" fmla="*/ 200 h 454"/>
              <a:gd name="T40" fmla="*/ 288 w 299"/>
              <a:gd name="T41" fmla="*/ 143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99" h="454">
                <a:moveTo>
                  <a:pt x="288" y="143"/>
                </a:moveTo>
                <a:cubicBezTo>
                  <a:pt x="288" y="144"/>
                  <a:pt x="204" y="181"/>
                  <a:pt x="195" y="181"/>
                </a:cubicBezTo>
                <a:cubicBezTo>
                  <a:pt x="191" y="181"/>
                  <a:pt x="176" y="97"/>
                  <a:pt x="175" y="90"/>
                </a:cubicBezTo>
                <a:cubicBezTo>
                  <a:pt x="171" y="74"/>
                  <a:pt x="169" y="54"/>
                  <a:pt x="160" y="40"/>
                </a:cubicBezTo>
                <a:cubicBezTo>
                  <a:pt x="147" y="19"/>
                  <a:pt x="117" y="15"/>
                  <a:pt x="94" y="9"/>
                </a:cubicBezTo>
                <a:cubicBezTo>
                  <a:pt x="88" y="8"/>
                  <a:pt x="81" y="3"/>
                  <a:pt x="76" y="2"/>
                </a:cubicBezTo>
                <a:cubicBezTo>
                  <a:pt x="65" y="0"/>
                  <a:pt x="58" y="16"/>
                  <a:pt x="54" y="24"/>
                </a:cubicBezTo>
                <a:cubicBezTo>
                  <a:pt x="48" y="37"/>
                  <a:pt x="43" y="51"/>
                  <a:pt x="37" y="64"/>
                </a:cubicBezTo>
                <a:cubicBezTo>
                  <a:pt x="33" y="75"/>
                  <a:pt x="23" y="82"/>
                  <a:pt x="19" y="93"/>
                </a:cubicBezTo>
                <a:cubicBezTo>
                  <a:pt x="14" y="112"/>
                  <a:pt x="5" y="131"/>
                  <a:pt x="2" y="151"/>
                </a:cubicBezTo>
                <a:cubicBezTo>
                  <a:pt x="1" y="164"/>
                  <a:pt x="4" y="176"/>
                  <a:pt x="5" y="189"/>
                </a:cubicBezTo>
                <a:cubicBezTo>
                  <a:pt x="5" y="197"/>
                  <a:pt x="0" y="345"/>
                  <a:pt x="1" y="372"/>
                </a:cubicBezTo>
                <a:cubicBezTo>
                  <a:pt x="1" y="387"/>
                  <a:pt x="4" y="440"/>
                  <a:pt x="4" y="454"/>
                </a:cubicBezTo>
                <a:cubicBezTo>
                  <a:pt x="133" y="445"/>
                  <a:pt x="133" y="445"/>
                  <a:pt x="133" y="445"/>
                </a:cubicBezTo>
                <a:cubicBezTo>
                  <a:pt x="132" y="402"/>
                  <a:pt x="122" y="327"/>
                  <a:pt x="120" y="285"/>
                </a:cubicBezTo>
                <a:cubicBezTo>
                  <a:pt x="119" y="248"/>
                  <a:pt x="112" y="209"/>
                  <a:pt x="116" y="173"/>
                </a:cubicBezTo>
                <a:cubicBezTo>
                  <a:pt x="123" y="187"/>
                  <a:pt x="130" y="202"/>
                  <a:pt x="137" y="216"/>
                </a:cubicBezTo>
                <a:cubicBezTo>
                  <a:pt x="140" y="223"/>
                  <a:pt x="154" y="239"/>
                  <a:pt x="160" y="244"/>
                </a:cubicBezTo>
                <a:cubicBezTo>
                  <a:pt x="170" y="255"/>
                  <a:pt x="192" y="252"/>
                  <a:pt x="206" y="249"/>
                </a:cubicBezTo>
                <a:cubicBezTo>
                  <a:pt x="247" y="241"/>
                  <a:pt x="265" y="224"/>
                  <a:pt x="299" y="200"/>
                </a:cubicBezTo>
                <a:cubicBezTo>
                  <a:pt x="295" y="170"/>
                  <a:pt x="292" y="168"/>
                  <a:pt x="288" y="143"/>
                </a:cubicBez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59">
            <a:extLst>
              <a:ext uri="{FF2B5EF4-FFF2-40B4-BE49-F238E27FC236}">
                <a16:creationId xmlns:a16="http://schemas.microsoft.com/office/drawing/2014/main" id="{FF4B9F5B-DF1B-48D4-A126-807E0774051F}"/>
              </a:ext>
            </a:extLst>
          </p:cNvPr>
          <p:cNvSpPr>
            <a:spLocks/>
          </p:cNvSpPr>
          <p:nvPr/>
        </p:nvSpPr>
        <p:spPr bwMode="auto">
          <a:xfrm>
            <a:off x="9052311" y="2854984"/>
            <a:ext cx="300038" cy="436563"/>
          </a:xfrm>
          <a:custGeom>
            <a:avLst/>
            <a:gdLst>
              <a:gd name="T0" fmla="*/ 16 w 83"/>
              <a:gd name="T1" fmla="*/ 76 h 121"/>
              <a:gd name="T2" fmla="*/ 28 w 83"/>
              <a:gd name="T3" fmla="*/ 106 h 121"/>
              <a:gd name="T4" fmla="*/ 38 w 83"/>
              <a:gd name="T5" fmla="*/ 120 h 121"/>
              <a:gd name="T6" fmla="*/ 56 w 83"/>
              <a:gd name="T7" fmla="*/ 102 h 121"/>
              <a:gd name="T8" fmla="*/ 72 w 83"/>
              <a:gd name="T9" fmla="*/ 78 h 121"/>
              <a:gd name="T10" fmla="*/ 75 w 83"/>
              <a:gd name="T11" fmla="*/ 52 h 121"/>
              <a:gd name="T12" fmla="*/ 82 w 83"/>
              <a:gd name="T13" fmla="*/ 35 h 121"/>
              <a:gd name="T14" fmla="*/ 75 w 83"/>
              <a:gd name="T15" fmla="*/ 24 h 121"/>
              <a:gd name="T16" fmla="*/ 65 w 83"/>
              <a:gd name="T17" fmla="*/ 20 h 121"/>
              <a:gd name="T18" fmla="*/ 58 w 83"/>
              <a:gd name="T19" fmla="*/ 12 h 121"/>
              <a:gd name="T20" fmla="*/ 45 w 83"/>
              <a:gd name="T21" fmla="*/ 2 h 121"/>
              <a:gd name="T22" fmla="*/ 18 w 83"/>
              <a:gd name="T23" fmla="*/ 24 h 121"/>
              <a:gd name="T24" fmla="*/ 0 w 83"/>
              <a:gd name="T25" fmla="*/ 54 h 121"/>
              <a:gd name="T26" fmla="*/ 16 w 83"/>
              <a:gd name="T27" fmla="*/ 76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3" h="121">
                <a:moveTo>
                  <a:pt x="16" y="76"/>
                </a:moveTo>
                <a:cubicBezTo>
                  <a:pt x="21" y="86"/>
                  <a:pt x="24" y="96"/>
                  <a:pt x="28" y="106"/>
                </a:cubicBezTo>
                <a:cubicBezTo>
                  <a:pt x="29" y="111"/>
                  <a:pt x="31" y="120"/>
                  <a:pt x="38" y="120"/>
                </a:cubicBezTo>
                <a:cubicBezTo>
                  <a:pt x="46" y="121"/>
                  <a:pt x="53" y="107"/>
                  <a:pt x="56" y="102"/>
                </a:cubicBezTo>
                <a:cubicBezTo>
                  <a:pt x="62" y="94"/>
                  <a:pt x="66" y="86"/>
                  <a:pt x="72" y="78"/>
                </a:cubicBezTo>
                <a:cubicBezTo>
                  <a:pt x="72" y="70"/>
                  <a:pt x="72" y="60"/>
                  <a:pt x="75" y="52"/>
                </a:cubicBezTo>
                <a:cubicBezTo>
                  <a:pt x="78" y="46"/>
                  <a:pt x="83" y="43"/>
                  <a:pt x="82" y="35"/>
                </a:cubicBezTo>
                <a:cubicBezTo>
                  <a:pt x="82" y="30"/>
                  <a:pt x="79" y="26"/>
                  <a:pt x="75" y="24"/>
                </a:cubicBezTo>
                <a:cubicBezTo>
                  <a:pt x="71" y="22"/>
                  <a:pt x="68" y="22"/>
                  <a:pt x="65" y="20"/>
                </a:cubicBezTo>
                <a:cubicBezTo>
                  <a:pt x="63" y="18"/>
                  <a:pt x="61" y="15"/>
                  <a:pt x="58" y="12"/>
                </a:cubicBezTo>
                <a:cubicBezTo>
                  <a:pt x="56" y="9"/>
                  <a:pt x="50" y="2"/>
                  <a:pt x="45" y="2"/>
                </a:cubicBezTo>
                <a:cubicBezTo>
                  <a:pt x="37" y="0"/>
                  <a:pt x="24" y="19"/>
                  <a:pt x="18" y="24"/>
                </a:cubicBezTo>
                <a:cubicBezTo>
                  <a:pt x="8" y="33"/>
                  <a:pt x="3" y="43"/>
                  <a:pt x="0" y="54"/>
                </a:cubicBezTo>
                <a:cubicBezTo>
                  <a:pt x="6" y="61"/>
                  <a:pt x="11" y="68"/>
                  <a:pt x="16" y="76"/>
                </a:cubicBez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60">
            <a:extLst>
              <a:ext uri="{FF2B5EF4-FFF2-40B4-BE49-F238E27FC236}">
                <a16:creationId xmlns:a16="http://schemas.microsoft.com/office/drawing/2014/main" id="{838F79DC-C13F-4B84-8F4F-74C3C111F08D}"/>
              </a:ext>
            </a:extLst>
          </p:cNvPr>
          <p:cNvSpPr>
            <a:spLocks/>
          </p:cNvSpPr>
          <p:nvPr/>
        </p:nvSpPr>
        <p:spPr bwMode="auto">
          <a:xfrm>
            <a:off x="9112636" y="2851809"/>
            <a:ext cx="141288" cy="471488"/>
          </a:xfrm>
          <a:custGeom>
            <a:avLst/>
            <a:gdLst>
              <a:gd name="T0" fmla="*/ 1 w 39"/>
              <a:gd name="T1" fmla="*/ 89 h 131"/>
              <a:gd name="T2" fmla="*/ 18 w 39"/>
              <a:gd name="T3" fmla="*/ 31 h 131"/>
              <a:gd name="T4" fmla="*/ 17 w 39"/>
              <a:gd name="T5" fmla="*/ 25 h 131"/>
              <a:gd name="T6" fmla="*/ 13 w 39"/>
              <a:gd name="T7" fmla="*/ 16 h 131"/>
              <a:gd name="T8" fmla="*/ 13 w 39"/>
              <a:gd name="T9" fmla="*/ 15 h 131"/>
              <a:gd name="T10" fmla="*/ 20 w 39"/>
              <a:gd name="T11" fmla="*/ 9 h 131"/>
              <a:gd name="T12" fmla="*/ 23 w 39"/>
              <a:gd name="T13" fmla="*/ 4 h 131"/>
              <a:gd name="T14" fmla="*/ 27 w 39"/>
              <a:gd name="T15" fmla="*/ 1 h 131"/>
              <a:gd name="T16" fmla="*/ 30 w 39"/>
              <a:gd name="T17" fmla="*/ 5 h 131"/>
              <a:gd name="T18" fmla="*/ 33 w 39"/>
              <a:gd name="T19" fmla="*/ 8 h 131"/>
              <a:gd name="T20" fmla="*/ 38 w 39"/>
              <a:gd name="T21" fmla="*/ 13 h 131"/>
              <a:gd name="T22" fmla="*/ 38 w 39"/>
              <a:gd name="T23" fmla="*/ 14 h 131"/>
              <a:gd name="T24" fmla="*/ 32 w 39"/>
              <a:gd name="T25" fmla="*/ 24 h 131"/>
              <a:gd name="T26" fmla="*/ 31 w 39"/>
              <a:gd name="T27" fmla="*/ 30 h 131"/>
              <a:gd name="T28" fmla="*/ 39 w 39"/>
              <a:gd name="T29" fmla="*/ 85 h 131"/>
              <a:gd name="T30" fmla="*/ 39 w 39"/>
              <a:gd name="T31" fmla="*/ 86 h 131"/>
              <a:gd name="T32" fmla="*/ 18 w 39"/>
              <a:gd name="T33" fmla="*/ 130 h 131"/>
              <a:gd name="T34" fmla="*/ 16 w 39"/>
              <a:gd name="T35" fmla="*/ 130 h 131"/>
              <a:gd name="T36" fmla="*/ 14 w 39"/>
              <a:gd name="T37" fmla="*/ 130 h 131"/>
              <a:gd name="T38" fmla="*/ 1 w 39"/>
              <a:gd name="T39" fmla="*/ 89 h 131"/>
              <a:gd name="T40" fmla="*/ 1 w 39"/>
              <a:gd name="T41" fmla="*/ 89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9" h="131">
                <a:moveTo>
                  <a:pt x="1" y="89"/>
                </a:moveTo>
                <a:cubicBezTo>
                  <a:pt x="18" y="31"/>
                  <a:pt x="18" y="31"/>
                  <a:pt x="18" y="31"/>
                </a:cubicBezTo>
                <a:cubicBezTo>
                  <a:pt x="18" y="29"/>
                  <a:pt x="18" y="27"/>
                  <a:pt x="17" y="2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3" y="15"/>
                  <a:pt x="13" y="15"/>
                </a:cubicBezTo>
                <a:cubicBezTo>
                  <a:pt x="16" y="13"/>
                  <a:pt x="18" y="11"/>
                  <a:pt x="20" y="9"/>
                </a:cubicBezTo>
                <a:cubicBezTo>
                  <a:pt x="21" y="7"/>
                  <a:pt x="23" y="6"/>
                  <a:pt x="23" y="4"/>
                </a:cubicBezTo>
                <a:cubicBezTo>
                  <a:pt x="24" y="3"/>
                  <a:pt x="26" y="0"/>
                  <a:pt x="27" y="1"/>
                </a:cubicBezTo>
                <a:cubicBezTo>
                  <a:pt x="29" y="2"/>
                  <a:pt x="29" y="3"/>
                  <a:pt x="30" y="5"/>
                </a:cubicBezTo>
                <a:cubicBezTo>
                  <a:pt x="31" y="6"/>
                  <a:pt x="32" y="7"/>
                  <a:pt x="33" y="8"/>
                </a:cubicBezTo>
                <a:cubicBezTo>
                  <a:pt x="35" y="10"/>
                  <a:pt x="36" y="11"/>
                  <a:pt x="38" y="13"/>
                </a:cubicBezTo>
                <a:cubicBezTo>
                  <a:pt x="38" y="13"/>
                  <a:pt x="38" y="14"/>
                  <a:pt x="38" y="14"/>
                </a:cubicBezTo>
                <a:cubicBezTo>
                  <a:pt x="32" y="24"/>
                  <a:pt x="32" y="24"/>
                  <a:pt x="32" y="24"/>
                </a:cubicBezTo>
                <a:cubicBezTo>
                  <a:pt x="31" y="26"/>
                  <a:pt x="31" y="28"/>
                  <a:pt x="31" y="30"/>
                </a:cubicBezTo>
                <a:cubicBezTo>
                  <a:pt x="39" y="85"/>
                  <a:pt x="39" y="85"/>
                  <a:pt x="39" y="85"/>
                </a:cubicBezTo>
                <a:cubicBezTo>
                  <a:pt x="39" y="85"/>
                  <a:pt x="39" y="85"/>
                  <a:pt x="39" y="86"/>
                </a:cubicBezTo>
                <a:cubicBezTo>
                  <a:pt x="18" y="130"/>
                  <a:pt x="18" y="130"/>
                  <a:pt x="18" y="130"/>
                </a:cubicBezTo>
                <a:cubicBezTo>
                  <a:pt x="18" y="130"/>
                  <a:pt x="17" y="131"/>
                  <a:pt x="16" y="130"/>
                </a:cubicBezTo>
                <a:cubicBezTo>
                  <a:pt x="15" y="131"/>
                  <a:pt x="15" y="131"/>
                  <a:pt x="14" y="130"/>
                </a:cubicBezTo>
                <a:cubicBezTo>
                  <a:pt x="1" y="89"/>
                  <a:pt x="1" y="89"/>
                  <a:pt x="1" y="89"/>
                </a:cubicBezTo>
                <a:cubicBezTo>
                  <a:pt x="0" y="89"/>
                  <a:pt x="0" y="89"/>
                  <a:pt x="1" y="89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61">
            <a:extLst>
              <a:ext uri="{FF2B5EF4-FFF2-40B4-BE49-F238E27FC236}">
                <a16:creationId xmlns:a16="http://schemas.microsoft.com/office/drawing/2014/main" id="{BCFB3FE0-292B-49F5-A7C4-D6E822804380}"/>
              </a:ext>
            </a:extLst>
          </p:cNvPr>
          <p:cNvSpPr>
            <a:spLocks/>
          </p:cNvSpPr>
          <p:nvPr/>
        </p:nvSpPr>
        <p:spPr bwMode="auto">
          <a:xfrm>
            <a:off x="9033261" y="2707346"/>
            <a:ext cx="398463" cy="320675"/>
          </a:xfrm>
          <a:custGeom>
            <a:avLst/>
            <a:gdLst>
              <a:gd name="T0" fmla="*/ 11 w 110"/>
              <a:gd name="T1" fmla="*/ 6 h 89"/>
              <a:gd name="T2" fmla="*/ 48 w 110"/>
              <a:gd name="T3" fmla="*/ 40 h 89"/>
              <a:gd name="T4" fmla="*/ 50 w 110"/>
              <a:gd name="T5" fmla="*/ 40 h 89"/>
              <a:gd name="T6" fmla="*/ 92 w 110"/>
              <a:gd name="T7" fmla="*/ 0 h 89"/>
              <a:gd name="T8" fmla="*/ 110 w 110"/>
              <a:gd name="T9" fmla="*/ 30 h 89"/>
              <a:gd name="T10" fmla="*/ 76 w 110"/>
              <a:gd name="T11" fmla="*/ 83 h 89"/>
              <a:gd name="T12" fmla="*/ 50 w 110"/>
              <a:gd name="T13" fmla="*/ 43 h 89"/>
              <a:gd name="T14" fmla="*/ 47 w 110"/>
              <a:gd name="T15" fmla="*/ 43 h 89"/>
              <a:gd name="T16" fmla="*/ 13 w 110"/>
              <a:gd name="T17" fmla="*/ 89 h 89"/>
              <a:gd name="T18" fmla="*/ 0 w 110"/>
              <a:gd name="T19" fmla="*/ 33 h 89"/>
              <a:gd name="T20" fmla="*/ 11 w 110"/>
              <a:gd name="T21" fmla="*/ 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0" h="89">
                <a:moveTo>
                  <a:pt x="11" y="6"/>
                </a:moveTo>
                <a:cubicBezTo>
                  <a:pt x="48" y="40"/>
                  <a:pt x="48" y="40"/>
                  <a:pt x="48" y="40"/>
                </a:cubicBezTo>
                <a:cubicBezTo>
                  <a:pt x="48" y="40"/>
                  <a:pt x="49" y="40"/>
                  <a:pt x="50" y="40"/>
                </a:cubicBezTo>
                <a:cubicBezTo>
                  <a:pt x="92" y="0"/>
                  <a:pt x="92" y="0"/>
                  <a:pt x="92" y="0"/>
                </a:cubicBezTo>
                <a:cubicBezTo>
                  <a:pt x="110" y="30"/>
                  <a:pt x="110" y="30"/>
                  <a:pt x="110" y="30"/>
                </a:cubicBezTo>
                <a:cubicBezTo>
                  <a:pt x="76" y="83"/>
                  <a:pt x="76" y="83"/>
                  <a:pt x="76" y="83"/>
                </a:cubicBezTo>
                <a:cubicBezTo>
                  <a:pt x="50" y="43"/>
                  <a:pt x="50" y="43"/>
                  <a:pt x="50" y="43"/>
                </a:cubicBezTo>
                <a:cubicBezTo>
                  <a:pt x="49" y="42"/>
                  <a:pt x="48" y="42"/>
                  <a:pt x="47" y="43"/>
                </a:cubicBezTo>
                <a:cubicBezTo>
                  <a:pt x="13" y="89"/>
                  <a:pt x="13" y="89"/>
                  <a:pt x="13" y="89"/>
                </a:cubicBezTo>
                <a:cubicBezTo>
                  <a:pt x="0" y="33"/>
                  <a:pt x="0" y="33"/>
                  <a:pt x="0" y="33"/>
                </a:cubicBezTo>
                <a:lnTo>
                  <a:pt x="11" y="6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62">
            <a:extLst>
              <a:ext uri="{FF2B5EF4-FFF2-40B4-BE49-F238E27FC236}">
                <a16:creationId xmlns:a16="http://schemas.microsoft.com/office/drawing/2014/main" id="{28E4D3BE-E961-4599-B818-884FAEAE6087}"/>
              </a:ext>
            </a:extLst>
          </p:cNvPr>
          <p:cNvSpPr>
            <a:spLocks/>
          </p:cNvSpPr>
          <p:nvPr/>
        </p:nvSpPr>
        <p:spPr bwMode="auto">
          <a:xfrm>
            <a:off x="9174549" y="2778784"/>
            <a:ext cx="336550" cy="739775"/>
          </a:xfrm>
          <a:custGeom>
            <a:avLst/>
            <a:gdLst>
              <a:gd name="T0" fmla="*/ 93 w 93"/>
              <a:gd name="T1" fmla="*/ 36 h 205"/>
              <a:gd name="T2" fmla="*/ 87 w 93"/>
              <a:gd name="T3" fmla="*/ 16 h 205"/>
              <a:gd name="T4" fmla="*/ 65 w 93"/>
              <a:gd name="T5" fmla="*/ 0 h 205"/>
              <a:gd name="T6" fmla="*/ 41 w 93"/>
              <a:gd name="T7" fmla="*/ 58 h 205"/>
              <a:gd name="T8" fmla="*/ 34 w 93"/>
              <a:gd name="T9" fmla="*/ 74 h 205"/>
              <a:gd name="T10" fmla="*/ 1 w 93"/>
              <a:gd name="T11" fmla="*/ 147 h 205"/>
              <a:gd name="T12" fmla="*/ 0 w 93"/>
              <a:gd name="T13" fmla="*/ 205 h 205"/>
              <a:gd name="T14" fmla="*/ 32 w 93"/>
              <a:gd name="T15" fmla="*/ 130 h 205"/>
              <a:gd name="T16" fmla="*/ 88 w 93"/>
              <a:gd name="T17" fmla="*/ 56 h 205"/>
              <a:gd name="T18" fmla="*/ 67 w 93"/>
              <a:gd name="T19" fmla="*/ 43 h 205"/>
              <a:gd name="T20" fmla="*/ 93 w 93"/>
              <a:gd name="T21" fmla="*/ 36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3" h="205">
                <a:moveTo>
                  <a:pt x="93" y="36"/>
                </a:moveTo>
                <a:cubicBezTo>
                  <a:pt x="92" y="32"/>
                  <a:pt x="93" y="22"/>
                  <a:pt x="87" y="16"/>
                </a:cubicBezTo>
                <a:cubicBezTo>
                  <a:pt x="77" y="6"/>
                  <a:pt x="68" y="2"/>
                  <a:pt x="65" y="0"/>
                </a:cubicBezTo>
                <a:cubicBezTo>
                  <a:pt x="41" y="58"/>
                  <a:pt x="41" y="58"/>
                  <a:pt x="41" y="58"/>
                </a:cubicBezTo>
                <a:cubicBezTo>
                  <a:pt x="34" y="74"/>
                  <a:pt x="34" y="74"/>
                  <a:pt x="34" y="74"/>
                </a:cubicBezTo>
                <a:cubicBezTo>
                  <a:pt x="1" y="147"/>
                  <a:pt x="1" y="147"/>
                  <a:pt x="1" y="147"/>
                </a:cubicBezTo>
                <a:cubicBezTo>
                  <a:pt x="0" y="205"/>
                  <a:pt x="0" y="205"/>
                  <a:pt x="0" y="205"/>
                </a:cubicBezTo>
                <a:cubicBezTo>
                  <a:pt x="0" y="205"/>
                  <a:pt x="17" y="158"/>
                  <a:pt x="32" y="130"/>
                </a:cubicBezTo>
                <a:cubicBezTo>
                  <a:pt x="50" y="96"/>
                  <a:pt x="71" y="72"/>
                  <a:pt x="88" y="56"/>
                </a:cubicBezTo>
                <a:cubicBezTo>
                  <a:pt x="81" y="52"/>
                  <a:pt x="74" y="47"/>
                  <a:pt x="67" y="43"/>
                </a:cubicBezTo>
                <a:lnTo>
                  <a:pt x="93" y="36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63">
            <a:extLst>
              <a:ext uri="{FF2B5EF4-FFF2-40B4-BE49-F238E27FC236}">
                <a16:creationId xmlns:a16="http://schemas.microsoft.com/office/drawing/2014/main" id="{C93C016C-18D1-4BC7-A50E-A1EFA99DE17A}"/>
              </a:ext>
            </a:extLst>
          </p:cNvPr>
          <p:cNvSpPr>
            <a:spLocks/>
          </p:cNvSpPr>
          <p:nvPr/>
        </p:nvSpPr>
        <p:spPr bwMode="auto">
          <a:xfrm>
            <a:off x="8936424" y="2786721"/>
            <a:ext cx="252413" cy="742950"/>
          </a:xfrm>
          <a:custGeom>
            <a:avLst/>
            <a:gdLst>
              <a:gd name="T0" fmla="*/ 0 w 70"/>
              <a:gd name="T1" fmla="*/ 33 h 206"/>
              <a:gd name="T2" fmla="*/ 8 w 70"/>
              <a:gd name="T3" fmla="*/ 14 h 206"/>
              <a:gd name="T4" fmla="*/ 31 w 70"/>
              <a:gd name="T5" fmla="*/ 0 h 206"/>
              <a:gd name="T6" fmla="*/ 48 w 70"/>
              <a:gd name="T7" fmla="*/ 61 h 206"/>
              <a:gd name="T8" fmla="*/ 52 w 70"/>
              <a:gd name="T9" fmla="*/ 78 h 206"/>
              <a:gd name="T10" fmla="*/ 70 w 70"/>
              <a:gd name="T11" fmla="*/ 139 h 206"/>
              <a:gd name="T12" fmla="*/ 66 w 70"/>
              <a:gd name="T13" fmla="*/ 206 h 206"/>
              <a:gd name="T14" fmla="*/ 47 w 70"/>
              <a:gd name="T15" fmla="*/ 133 h 206"/>
              <a:gd name="T16" fmla="*/ 2 w 70"/>
              <a:gd name="T17" fmla="*/ 54 h 206"/>
              <a:gd name="T18" fmla="*/ 24 w 70"/>
              <a:gd name="T19" fmla="*/ 43 h 206"/>
              <a:gd name="T20" fmla="*/ 0 w 70"/>
              <a:gd name="T21" fmla="*/ 33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206">
                <a:moveTo>
                  <a:pt x="0" y="33"/>
                </a:moveTo>
                <a:cubicBezTo>
                  <a:pt x="1" y="29"/>
                  <a:pt x="1" y="20"/>
                  <a:pt x="8" y="14"/>
                </a:cubicBezTo>
                <a:cubicBezTo>
                  <a:pt x="19" y="5"/>
                  <a:pt x="28" y="1"/>
                  <a:pt x="31" y="0"/>
                </a:cubicBezTo>
                <a:cubicBezTo>
                  <a:pt x="48" y="61"/>
                  <a:pt x="48" y="61"/>
                  <a:pt x="48" y="61"/>
                </a:cubicBezTo>
                <a:cubicBezTo>
                  <a:pt x="52" y="78"/>
                  <a:pt x="52" y="78"/>
                  <a:pt x="52" y="78"/>
                </a:cubicBezTo>
                <a:cubicBezTo>
                  <a:pt x="70" y="139"/>
                  <a:pt x="70" y="139"/>
                  <a:pt x="70" y="139"/>
                </a:cubicBezTo>
                <a:cubicBezTo>
                  <a:pt x="66" y="206"/>
                  <a:pt x="66" y="206"/>
                  <a:pt x="66" y="206"/>
                </a:cubicBezTo>
                <a:cubicBezTo>
                  <a:pt x="66" y="206"/>
                  <a:pt x="58" y="163"/>
                  <a:pt x="47" y="133"/>
                </a:cubicBezTo>
                <a:cubicBezTo>
                  <a:pt x="34" y="98"/>
                  <a:pt x="16" y="71"/>
                  <a:pt x="2" y="54"/>
                </a:cubicBezTo>
                <a:cubicBezTo>
                  <a:pt x="9" y="50"/>
                  <a:pt x="17" y="47"/>
                  <a:pt x="24" y="43"/>
                </a:cubicBezTo>
                <a:lnTo>
                  <a:pt x="0" y="33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64">
            <a:extLst>
              <a:ext uri="{FF2B5EF4-FFF2-40B4-BE49-F238E27FC236}">
                <a16:creationId xmlns:a16="http://schemas.microsoft.com/office/drawing/2014/main" id="{89CCCA86-B9E9-4B9A-BC76-C73E6C80409D}"/>
              </a:ext>
            </a:extLst>
          </p:cNvPr>
          <p:cNvSpPr>
            <a:spLocks/>
          </p:cNvSpPr>
          <p:nvPr/>
        </p:nvSpPr>
        <p:spPr bwMode="auto">
          <a:xfrm>
            <a:off x="8752274" y="3912259"/>
            <a:ext cx="212725" cy="168275"/>
          </a:xfrm>
          <a:custGeom>
            <a:avLst/>
            <a:gdLst>
              <a:gd name="T0" fmla="*/ 11 w 134"/>
              <a:gd name="T1" fmla="*/ 25 h 106"/>
              <a:gd name="T2" fmla="*/ 134 w 134"/>
              <a:gd name="T3" fmla="*/ 0 h 106"/>
              <a:gd name="T4" fmla="*/ 134 w 134"/>
              <a:gd name="T5" fmla="*/ 47 h 106"/>
              <a:gd name="T6" fmla="*/ 0 w 134"/>
              <a:gd name="T7" fmla="*/ 106 h 106"/>
              <a:gd name="T8" fmla="*/ 11 w 134"/>
              <a:gd name="T9" fmla="*/ 25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4" h="106">
                <a:moveTo>
                  <a:pt x="11" y="25"/>
                </a:moveTo>
                <a:lnTo>
                  <a:pt x="134" y="0"/>
                </a:lnTo>
                <a:lnTo>
                  <a:pt x="134" y="47"/>
                </a:lnTo>
                <a:lnTo>
                  <a:pt x="0" y="106"/>
                </a:lnTo>
                <a:lnTo>
                  <a:pt x="11" y="25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Freeform 65">
            <a:extLst>
              <a:ext uri="{FF2B5EF4-FFF2-40B4-BE49-F238E27FC236}">
                <a16:creationId xmlns:a16="http://schemas.microsoft.com/office/drawing/2014/main" id="{8C98B9C9-1679-4473-BFA3-E1702CA5DFD5}"/>
              </a:ext>
            </a:extLst>
          </p:cNvPr>
          <p:cNvSpPr>
            <a:spLocks/>
          </p:cNvSpPr>
          <p:nvPr/>
        </p:nvSpPr>
        <p:spPr bwMode="auto">
          <a:xfrm>
            <a:off x="9406324" y="3912259"/>
            <a:ext cx="212725" cy="168275"/>
          </a:xfrm>
          <a:custGeom>
            <a:avLst/>
            <a:gdLst>
              <a:gd name="T0" fmla="*/ 123 w 134"/>
              <a:gd name="T1" fmla="*/ 25 h 106"/>
              <a:gd name="T2" fmla="*/ 0 w 134"/>
              <a:gd name="T3" fmla="*/ 0 h 106"/>
              <a:gd name="T4" fmla="*/ 0 w 134"/>
              <a:gd name="T5" fmla="*/ 47 h 106"/>
              <a:gd name="T6" fmla="*/ 134 w 134"/>
              <a:gd name="T7" fmla="*/ 106 h 106"/>
              <a:gd name="T8" fmla="*/ 123 w 134"/>
              <a:gd name="T9" fmla="*/ 25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4" h="106">
                <a:moveTo>
                  <a:pt x="123" y="25"/>
                </a:moveTo>
                <a:lnTo>
                  <a:pt x="0" y="0"/>
                </a:lnTo>
                <a:lnTo>
                  <a:pt x="0" y="47"/>
                </a:lnTo>
                <a:lnTo>
                  <a:pt x="134" y="106"/>
                </a:lnTo>
                <a:lnTo>
                  <a:pt x="123" y="25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B5AAC9A-B80B-4E37-BCAF-951D7FA5E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54" y="6218879"/>
            <a:ext cx="2724150" cy="63912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4A8EDCF-3014-46A4-9169-0AB7CF1A6C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1824" y="6323893"/>
            <a:ext cx="470834" cy="449272"/>
          </a:xfrm>
          <a:prstGeom prst="rect">
            <a:avLst/>
          </a:prstGeom>
        </p:spPr>
      </p:pic>
      <p:pic>
        <p:nvPicPr>
          <p:cNvPr id="64514" name="Picture 2" descr="https://sun7-14.userapi.com/impf/XB4gChR6khFF5h48HPzmhPV3EwsoMJs_aib2mQ/D6uVJw4enOM.jpg?size=1380x916&amp;quality=96&amp;sign=2f2df335810464325b6ea7f9494ec91c&amp;type=album">
            <a:extLst>
              <a:ext uri="{FF2B5EF4-FFF2-40B4-BE49-F238E27FC236}">
                <a16:creationId xmlns:a16="http://schemas.microsoft.com/office/drawing/2014/main" id="{0E18C277-4723-49FD-9773-2F845290A4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760" y="475615"/>
            <a:ext cx="6941992" cy="5485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64">
            <a:extLst>
              <a:ext uri="{FF2B5EF4-FFF2-40B4-BE49-F238E27FC236}">
                <a16:creationId xmlns:a16="http://schemas.microsoft.com/office/drawing/2014/main" id="{6492AED4-1301-4EB1-90D0-DCB61FA55360}"/>
              </a:ext>
            </a:extLst>
          </p:cNvPr>
          <p:cNvSpPr/>
          <p:nvPr/>
        </p:nvSpPr>
        <p:spPr>
          <a:xfrm>
            <a:off x="-30760" y="-3494"/>
            <a:ext cx="12222760" cy="6878663"/>
          </a:xfrm>
          <a:prstGeom prst="rect">
            <a:avLst/>
          </a:prstGeom>
          <a:solidFill>
            <a:schemeClr val="bg2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8710C9-A836-4B51-85A9-709D10E4D98F}"/>
              </a:ext>
            </a:extLst>
          </p:cNvPr>
          <p:cNvSpPr txBox="1"/>
          <p:nvPr/>
        </p:nvSpPr>
        <p:spPr>
          <a:xfrm>
            <a:off x="1737710" y="5934670"/>
            <a:ext cx="34050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контекстная диаграмма</a:t>
            </a:r>
          </a:p>
          <a:p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769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dir="out" hasBounce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BA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5E70040-2819-4AD0-B8A7-5F3290773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4236"/>
            <a:ext cx="12192000" cy="6363764"/>
          </a:xfrm>
          <a:prstGeom prst="rect">
            <a:avLst/>
          </a:prstGeom>
        </p:spPr>
      </p:pic>
      <p:pic>
        <p:nvPicPr>
          <p:cNvPr id="65538" name="Picture 2" descr="https://sun9-35.userapi.com/impf/nZRK1btGSJDfiRbt8WNpIF_yhsHFcr0__756lw/jvA2FCvAHD8.jpg?size=1376x914&amp;quality=96&amp;sign=cbf0b941acbe995961b859868050bdd6&amp;type=album">
            <a:extLst>
              <a:ext uri="{FF2B5EF4-FFF2-40B4-BE49-F238E27FC236}">
                <a16:creationId xmlns:a16="http://schemas.microsoft.com/office/drawing/2014/main" id="{03077551-E061-41E7-A691-2B297AACD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363" y="757646"/>
            <a:ext cx="8505273" cy="5852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5F6F7B-07E4-424E-8826-4B5F258695F0}"/>
              </a:ext>
            </a:extLst>
          </p:cNvPr>
          <p:cNvSpPr txBox="1"/>
          <p:nvPr/>
        </p:nvSpPr>
        <p:spPr>
          <a:xfrm>
            <a:off x="3317092" y="247418"/>
            <a:ext cx="5550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Декомпозиция контекстной диаграммы </a:t>
            </a:r>
          </a:p>
        </p:txBody>
      </p:sp>
      <p:sp>
        <p:nvSpPr>
          <p:cNvPr id="13" name="Rectangle 64">
            <a:extLst>
              <a:ext uri="{FF2B5EF4-FFF2-40B4-BE49-F238E27FC236}">
                <a16:creationId xmlns:a16="http://schemas.microsoft.com/office/drawing/2014/main" id="{E5F166D9-09CF-4F29-8BB5-B55F9E42ED14}"/>
              </a:ext>
            </a:extLst>
          </p:cNvPr>
          <p:cNvSpPr/>
          <p:nvPr/>
        </p:nvSpPr>
        <p:spPr>
          <a:xfrm>
            <a:off x="-7601" y="-10332"/>
            <a:ext cx="12199601" cy="6878663"/>
          </a:xfrm>
          <a:prstGeom prst="rect">
            <a:avLst/>
          </a:prstGeom>
          <a:solidFill>
            <a:schemeClr val="bg2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872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BA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C5E6A0B-7D16-47B1-BD1F-896C9407E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569" y="625000"/>
            <a:ext cx="11709433" cy="6233000"/>
          </a:xfrm>
          <a:prstGeom prst="rect">
            <a:avLst/>
          </a:prstGeom>
        </p:spPr>
      </p:pic>
      <p:pic>
        <p:nvPicPr>
          <p:cNvPr id="80898" name="Picture 2" descr="https://sun9-29.userapi.com/impf/v5jDVLTSDDb3yPz2bFVJS6e5EGfQ3_fcA_wyNA/KFVZ7XuW0yc.jpg?size=1376x916&amp;quality=96&amp;sign=c56eac5888c347071d4a8971a9e315b5&amp;type=album">
            <a:extLst>
              <a:ext uri="{FF2B5EF4-FFF2-40B4-BE49-F238E27FC236}">
                <a16:creationId xmlns:a16="http://schemas.microsoft.com/office/drawing/2014/main" id="{1B7434EB-050A-4D76-A580-C5D059E0A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048" y="1164942"/>
            <a:ext cx="8407904" cy="559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AA9E46-3A4E-40CC-BCE4-3708B7D2A488}"/>
              </a:ext>
            </a:extLst>
          </p:cNvPr>
          <p:cNvSpPr txBox="1"/>
          <p:nvPr/>
        </p:nvSpPr>
        <p:spPr>
          <a:xfrm>
            <a:off x="4643467" y="588280"/>
            <a:ext cx="3664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Декомпозиция блока </a:t>
            </a:r>
          </a:p>
        </p:txBody>
      </p:sp>
      <p:sp>
        <p:nvSpPr>
          <p:cNvPr id="7" name="Rectangle 64">
            <a:extLst>
              <a:ext uri="{FF2B5EF4-FFF2-40B4-BE49-F238E27FC236}">
                <a16:creationId xmlns:a16="http://schemas.microsoft.com/office/drawing/2014/main" id="{64B26C00-076E-4EB4-9BDA-8FA2C67C116E}"/>
              </a:ext>
            </a:extLst>
          </p:cNvPr>
          <p:cNvSpPr/>
          <p:nvPr/>
        </p:nvSpPr>
        <p:spPr>
          <a:xfrm>
            <a:off x="-7601" y="-10332"/>
            <a:ext cx="12199601" cy="6878663"/>
          </a:xfrm>
          <a:prstGeom prst="rect">
            <a:avLst/>
          </a:prstGeom>
          <a:solidFill>
            <a:schemeClr val="bg2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3528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503774" y="411996"/>
            <a:ext cx="5311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bg2">
                    <a:lumMod val="10000"/>
                  </a:schemeClr>
                </a:solidFill>
              </a:rPr>
              <a:t>UML</a:t>
            </a:r>
            <a:r>
              <a:rPr lang="ru-RU" sz="5400" dirty="0">
                <a:solidFill>
                  <a:schemeClr val="bg2">
                    <a:lumMod val="10000"/>
                  </a:schemeClr>
                </a:solidFill>
              </a:rPr>
              <a:t> Диаграммы</a:t>
            </a:r>
            <a:r>
              <a:rPr lang="en-US" sz="5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endParaRPr lang="ru-RU" sz="54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5C887AF-10A9-4396-875E-43B60223C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56" y="6438900"/>
            <a:ext cx="2682683" cy="4191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F41A230-276A-44C1-8B51-EA0AAE570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1184" y="6349552"/>
            <a:ext cx="376015" cy="298898"/>
          </a:xfrm>
          <a:prstGeom prst="rect">
            <a:avLst/>
          </a:prstGeom>
        </p:spPr>
      </p:pic>
      <p:pic>
        <p:nvPicPr>
          <p:cNvPr id="7" name="image13.png">
            <a:extLst>
              <a:ext uri="{FF2B5EF4-FFF2-40B4-BE49-F238E27FC236}">
                <a16:creationId xmlns:a16="http://schemas.microsoft.com/office/drawing/2014/main" id="{142B3C7C-CC98-4AD5-A520-3AAEF1830F4A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385256" y="1969621"/>
            <a:ext cx="5070679" cy="3226221"/>
          </a:xfrm>
          <a:prstGeom prst="rect">
            <a:avLst/>
          </a:prstGeom>
          <a:ln/>
        </p:spPr>
      </p:pic>
      <p:pic>
        <p:nvPicPr>
          <p:cNvPr id="8" name="image3.png">
            <a:extLst>
              <a:ext uri="{FF2B5EF4-FFF2-40B4-BE49-F238E27FC236}">
                <a16:creationId xmlns:a16="http://schemas.microsoft.com/office/drawing/2014/main" id="{89484A06-09BA-42F1-9AEE-791B14DF2BA7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6736067" y="1969621"/>
            <a:ext cx="4765675" cy="3226221"/>
          </a:xfrm>
          <a:prstGeom prst="rect">
            <a:avLst/>
          </a:prstGeom>
          <a:ln/>
        </p:spPr>
      </p:pic>
      <p:sp>
        <p:nvSpPr>
          <p:cNvPr id="9" name="object 3">
            <a:extLst>
              <a:ext uri="{FF2B5EF4-FFF2-40B4-BE49-F238E27FC236}">
                <a16:creationId xmlns:a16="http://schemas.microsoft.com/office/drawing/2014/main" id="{437446DE-540B-46C7-8B5C-623BDBB3B955}"/>
              </a:ext>
            </a:extLst>
          </p:cNvPr>
          <p:cNvSpPr/>
          <p:nvPr/>
        </p:nvSpPr>
        <p:spPr>
          <a:xfrm rot="10458076">
            <a:off x="-81005" y="-507803"/>
            <a:ext cx="5459095" cy="1839595"/>
          </a:xfrm>
          <a:custGeom>
            <a:avLst/>
            <a:gdLst/>
            <a:ahLst/>
            <a:cxnLst/>
            <a:rect l="l" t="t" r="r" b="b"/>
            <a:pathLst>
              <a:path w="5459094" h="1839595">
                <a:moveTo>
                  <a:pt x="4456774" y="678220"/>
                </a:moveTo>
                <a:lnTo>
                  <a:pt x="5429585" y="4576"/>
                </a:lnTo>
                <a:lnTo>
                  <a:pt x="5458501" y="0"/>
                </a:lnTo>
                <a:lnTo>
                  <a:pt x="5452007" y="174421"/>
                </a:lnTo>
                <a:lnTo>
                  <a:pt x="5316760" y="268076"/>
                </a:lnTo>
                <a:lnTo>
                  <a:pt x="5287292" y="273034"/>
                </a:lnTo>
                <a:lnTo>
                  <a:pt x="5223854" y="316963"/>
                </a:lnTo>
                <a:lnTo>
                  <a:pt x="5195757" y="320972"/>
                </a:lnTo>
                <a:lnTo>
                  <a:pt x="5133577" y="364030"/>
                </a:lnTo>
                <a:lnTo>
                  <a:pt x="5085453" y="381906"/>
                </a:lnTo>
                <a:lnTo>
                  <a:pt x="5044620" y="410182"/>
                </a:lnTo>
                <a:lnTo>
                  <a:pt x="4955743" y="456279"/>
                </a:lnTo>
                <a:lnTo>
                  <a:pt x="4907619" y="474156"/>
                </a:lnTo>
                <a:lnTo>
                  <a:pt x="4866626" y="502542"/>
                </a:lnTo>
                <a:lnTo>
                  <a:pt x="4825183" y="515793"/>
                </a:lnTo>
                <a:lnTo>
                  <a:pt x="4749526" y="552736"/>
                </a:lnTo>
                <a:lnTo>
                  <a:pt x="4715312" y="576428"/>
                </a:lnTo>
                <a:lnTo>
                  <a:pt x="4674920" y="588950"/>
                </a:lnTo>
                <a:lnTo>
                  <a:pt x="4642078" y="611692"/>
                </a:lnTo>
                <a:lnTo>
                  <a:pt x="4562470" y="635923"/>
                </a:lnTo>
                <a:lnTo>
                  <a:pt x="4539554" y="651792"/>
                </a:lnTo>
                <a:lnTo>
                  <a:pt x="4509622" y="657072"/>
                </a:lnTo>
                <a:lnTo>
                  <a:pt x="4486920" y="672792"/>
                </a:lnTo>
                <a:lnTo>
                  <a:pt x="4456774" y="678220"/>
                </a:lnTo>
                <a:close/>
              </a:path>
              <a:path w="5459094" h="1839595">
                <a:moveTo>
                  <a:pt x="1475130" y="858304"/>
                </a:moveTo>
                <a:lnTo>
                  <a:pt x="2073402" y="444017"/>
                </a:lnTo>
                <a:lnTo>
                  <a:pt x="2331266" y="342693"/>
                </a:lnTo>
                <a:lnTo>
                  <a:pt x="2376733" y="326656"/>
                </a:lnTo>
                <a:lnTo>
                  <a:pt x="2428116" y="321970"/>
                </a:lnTo>
                <a:lnTo>
                  <a:pt x="2471284" y="307525"/>
                </a:lnTo>
                <a:lnTo>
                  <a:pt x="2619851" y="297333"/>
                </a:lnTo>
                <a:lnTo>
                  <a:pt x="2668224" y="294731"/>
                </a:lnTo>
                <a:lnTo>
                  <a:pt x="2810386" y="288974"/>
                </a:lnTo>
                <a:lnTo>
                  <a:pt x="2841543" y="298294"/>
                </a:lnTo>
                <a:lnTo>
                  <a:pt x="2864721" y="297692"/>
                </a:lnTo>
                <a:lnTo>
                  <a:pt x="2887258" y="297533"/>
                </a:lnTo>
                <a:lnTo>
                  <a:pt x="2916491" y="308186"/>
                </a:lnTo>
                <a:lnTo>
                  <a:pt x="2993025" y="316979"/>
                </a:lnTo>
                <a:lnTo>
                  <a:pt x="3037988" y="332186"/>
                </a:lnTo>
                <a:lnTo>
                  <a:pt x="3075079" y="337397"/>
                </a:lnTo>
                <a:lnTo>
                  <a:pt x="3100071" y="350987"/>
                </a:lnTo>
                <a:lnTo>
                  <a:pt x="3116870" y="354801"/>
                </a:lnTo>
                <a:lnTo>
                  <a:pt x="3133028" y="359060"/>
                </a:lnTo>
                <a:lnTo>
                  <a:pt x="3156095" y="373982"/>
                </a:lnTo>
                <a:lnTo>
                  <a:pt x="3184027" y="385536"/>
                </a:lnTo>
                <a:lnTo>
                  <a:pt x="3218761" y="407826"/>
                </a:lnTo>
                <a:lnTo>
                  <a:pt x="3245837" y="419972"/>
                </a:lnTo>
                <a:lnTo>
                  <a:pt x="3279716" y="442855"/>
                </a:lnTo>
                <a:lnTo>
                  <a:pt x="3327650" y="471453"/>
                </a:lnTo>
                <a:lnTo>
                  <a:pt x="3369394" y="488889"/>
                </a:lnTo>
                <a:lnTo>
                  <a:pt x="3419354" y="516085"/>
                </a:lnTo>
                <a:lnTo>
                  <a:pt x="3470244" y="542635"/>
                </a:lnTo>
                <a:lnTo>
                  <a:pt x="3514780" y="558139"/>
                </a:lnTo>
                <a:lnTo>
                  <a:pt x="3537972" y="572974"/>
                </a:lnTo>
                <a:lnTo>
                  <a:pt x="3577553" y="591908"/>
                </a:lnTo>
                <a:lnTo>
                  <a:pt x="3593515" y="596303"/>
                </a:lnTo>
                <a:lnTo>
                  <a:pt x="3620413" y="608572"/>
                </a:lnTo>
                <a:lnTo>
                  <a:pt x="3641150" y="609660"/>
                </a:lnTo>
                <a:lnTo>
                  <a:pt x="3670401" y="620300"/>
                </a:lnTo>
                <a:lnTo>
                  <a:pt x="3693918" y="619463"/>
                </a:lnTo>
                <a:lnTo>
                  <a:pt x="3745165" y="630319"/>
                </a:lnTo>
                <a:lnTo>
                  <a:pt x="3790132" y="630076"/>
                </a:lnTo>
                <a:lnTo>
                  <a:pt x="3836050" y="629174"/>
                </a:lnTo>
                <a:lnTo>
                  <a:pt x="3882918" y="627615"/>
                </a:lnTo>
                <a:lnTo>
                  <a:pt x="3930736" y="625398"/>
                </a:lnTo>
                <a:lnTo>
                  <a:pt x="4028500" y="619490"/>
                </a:lnTo>
                <a:lnTo>
                  <a:pt x="4069623" y="606461"/>
                </a:lnTo>
                <a:lnTo>
                  <a:pt x="4117976" y="603874"/>
                </a:lnTo>
                <a:lnTo>
                  <a:pt x="4159740" y="590401"/>
                </a:lnTo>
                <a:lnTo>
                  <a:pt x="4171715" y="582109"/>
                </a:lnTo>
                <a:lnTo>
                  <a:pt x="4190920" y="584257"/>
                </a:lnTo>
                <a:lnTo>
                  <a:pt x="4214869" y="567673"/>
                </a:lnTo>
                <a:lnTo>
                  <a:pt x="4288633" y="547489"/>
                </a:lnTo>
                <a:lnTo>
                  <a:pt x="4318177" y="527030"/>
                </a:lnTo>
                <a:lnTo>
                  <a:pt x="4355166" y="516865"/>
                </a:lnTo>
                <a:lnTo>
                  <a:pt x="4381214" y="514275"/>
                </a:lnTo>
                <a:lnTo>
                  <a:pt x="4400031" y="501244"/>
                </a:lnTo>
                <a:lnTo>
                  <a:pt x="4426079" y="498655"/>
                </a:lnTo>
                <a:lnTo>
                  <a:pt x="4444896" y="485624"/>
                </a:lnTo>
                <a:lnTo>
                  <a:pt x="4497151" y="464887"/>
                </a:lnTo>
                <a:lnTo>
                  <a:pt x="4541903" y="433898"/>
                </a:lnTo>
                <a:lnTo>
                  <a:pt x="4696204" y="373391"/>
                </a:lnTo>
                <a:lnTo>
                  <a:pt x="4837214" y="322089"/>
                </a:lnTo>
                <a:lnTo>
                  <a:pt x="4877304" y="294328"/>
                </a:lnTo>
                <a:lnTo>
                  <a:pt x="4971850" y="259753"/>
                </a:lnTo>
                <a:lnTo>
                  <a:pt x="5007596" y="235000"/>
                </a:lnTo>
                <a:lnTo>
                  <a:pt x="5085890" y="196231"/>
                </a:lnTo>
                <a:lnTo>
                  <a:pt x="5128866" y="181919"/>
                </a:lnTo>
                <a:lnTo>
                  <a:pt x="5151087" y="166532"/>
                </a:lnTo>
                <a:lnTo>
                  <a:pt x="5180431" y="161660"/>
                </a:lnTo>
                <a:lnTo>
                  <a:pt x="5263346" y="104244"/>
                </a:lnTo>
                <a:lnTo>
                  <a:pt x="5310170" y="87267"/>
                </a:lnTo>
                <a:lnTo>
                  <a:pt x="4440807" y="689276"/>
                </a:lnTo>
                <a:lnTo>
                  <a:pt x="4349216" y="721805"/>
                </a:lnTo>
                <a:lnTo>
                  <a:pt x="4296601" y="727344"/>
                </a:lnTo>
                <a:lnTo>
                  <a:pt x="4251271" y="743286"/>
                </a:lnTo>
                <a:lnTo>
                  <a:pt x="4177467" y="763498"/>
                </a:lnTo>
                <a:lnTo>
                  <a:pt x="4156974" y="777688"/>
                </a:lnTo>
                <a:lnTo>
                  <a:pt x="4130107" y="780845"/>
                </a:lnTo>
                <a:lnTo>
                  <a:pt x="4104309" y="783262"/>
                </a:lnTo>
                <a:lnTo>
                  <a:pt x="4092446" y="776029"/>
                </a:lnTo>
                <a:lnTo>
                  <a:pt x="4077691" y="786246"/>
                </a:lnTo>
                <a:lnTo>
                  <a:pt x="4004200" y="790794"/>
                </a:lnTo>
                <a:lnTo>
                  <a:pt x="3980344" y="791866"/>
                </a:lnTo>
                <a:lnTo>
                  <a:pt x="3946973" y="799527"/>
                </a:lnTo>
                <a:lnTo>
                  <a:pt x="3908616" y="795192"/>
                </a:lnTo>
                <a:lnTo>
                  <a:pt x="3837357" y="782747"/>
                </a:lnTo>
                <a:lnTo>
                  <a:pt x="3796564" y="764651"/>
                </a:lnTo>
                <a:lnTo>
                  <a:pt x="3778286" y="761861"/>
                </a:lnTo>
                <a:lnTo>
                  <a:pt x="3706099" y="750057"/>
                </a:lnTo>
                <a:lnTo>
                  <a:pt x="3654797" y="723791"/>
                </a:lnTo>
                <a:lnTo>
                  <a:pt x="3622790" y="699613"/>
                </a:lnTo>
                <a:lnTo>
                  <a:pt x="3587895" y="677433"/>
                </a:lnTo>
                <a:lnTo>
                  <a:pt x="3558306" y="667027"/>
                </a:lnTo>
                <a:lnTo>
                  <a:pt x="3520525" y="646847"/>
                </a:lnTo>
                <a:lnTo>
                  <a:pt x="3479571" y="628863"/>
                </a:lnTo>
                <a:lnTo>
                  <a:pt x="3439367" y="610360"/>
                </a:lnTo>
                <a:lnTo>
                  <a:pt x="3392573" y="580973"/>
                </a:lnTo>
                <a:lnTo>
                  <a:pt x="3353544" y="561656"/>
                </a:lnTo>
                <a:lnTo>
                  <a:pt x="3305664" y="533021"/>
                </a:lnTo>
                <a:lnTo>
                  <a:pt x="3260349" y="502609"/>
                </a:lnTo>
                <a:lnTo>
                  <a:pt x="3229678" y="477505"/>
                </a:lnTo>
                <a:lnTo>
                  <a:pt x="3204526" y="464027"/>
                </a:lnTo>
                <a:lnTo>
                  <a:pt x="3178946" y="450845"/>
                </a:lnTo>
                <a:lnTo>
                  <a:pt x="3154222" y="437070"/>
                </a:lnTo>
                <a:lnTo>
                  <a:pt x="3144711" y="428209"/>
                </a:lnTo>
                <a:lnTo>
                  <a:pt x="3138011" y="432848"/>
                </a:lnTo>
                <a:lnTo>
                  <a:pt x="3127217" y="424875"/>
                </a:lnTo>
                <a:lnTo>
                  <a:pt x="3108012" y="422726"/>
                </a:lnTo>
                <a:lnTo>
                  <a:pt x="3062372" y="407987"/>
                </a:lnTo>
                <a:lnTo>
                  <a:pt x="3043167" y="405839"/>
                </a:lnTo>
                <a:lnTo>
                  <a:pt x="2994124" y="393457"/>
                </a:lnTo>
                <a:lnTo>
                  <a:pt x="2950707" y="392626"/>
                </a:lnTo>
                <a:lnTo>
                  <a:pt x="2898563" y="382391"/>
                </a:lnTo>
                <a:lnTo>
                  <a:pt x="2852259" y="383560"/>
                </a:lnTo>
                <a:lnTo>
                  <a:pt x="2821547" y="373931"/>
                </a:lnTo>
                <a:lnTo>
                  <a:pt x="2751103" y="376369"/>
                </a:lnTo>
                <a:lnTo>
                  <a:pt x="2739311" y="369087"/>
                </a:lnTo>
                <a:lnTo>
                  <a:pt x="2731327" y="374615"/>
                </a:lnTo>
                <a:lnTo>
                  <a:pt x="2683402" y="376907"/>
                </a:lnTo>
                <a:lnTo>
                  <a:pt x="2591401" y="378825"/>
                </a:lnTo>
                <a:lnTo>
                  <a:pt x="2543475" y="381116"/>
                </a:lnTo>
                <a:lnTo>
                  <a:pt x="2503243" y="393528"/>
                </a:lnTo>
                <a:lnTo>
                  <a:pt x="2416405" y="407318"/>
                </a:lnTo>
                <a:lnTo>
                  <a:pt x="2376173" y="419730"/>
                </a:lnTo>
                <a:lnTo>
                  <a:pt x="2325557" y="423885"/>
                </a:lnTo>
                <a:lnTo>
                  <a:pt x="2191764" y="470189"/>
                </a:lnTo>
                <a:lnTo>
                  <a:pt x="2134599" y="509775"/>
                </a:lnTo>
                <a:lnTo>
                  <a:pt x="2098412" y="519385"/>
                </a:lnTo>
                <a:lnTo>
                  <a:pt x="2069348" y="539511"/>
                </a:lnTo>
                <a:lnTo>
                  <a:pt x="2021632" y="557105"/>
                </a:lnTo>
                <a:lnTo>
                  <a:pt x="1940660" y="613176"/>
                </a:lnTo>
                <a:lnTo>
                  <a:pt x="1892944" y="630771"/>
                </a:lnTo>
                <a:lnTo>
                  <a:pt x="1811972" y="686841"/>
                </a:lnTo>
                <a:lnTo>
                  <a:pt x="1784232" y="690603"/>
                </a:lnTo>
                <a:lnTo>
                  <a:pt x="1743639" y="718712"/>
                </a:lnTo>
                <a:lnTo>
                  <a:pt x="1716540" y="722030"/>
                </a:lnTo>
                <a:lnTo>
                  <a:pt x="1648925" y="768851"/>
                </a:lnTo>
                <a:lnTo>
                  <a:pt x="1601670" y="786127"/>
                </a:lnTo>
                <a:lnTo>
                  <a:pt x="1522057" y="841256"/>
                </a:lnTo>
                <a:lnTo>
                  <a:pt x="1475130" y="858304"/>
                </a:lnTo>
                <a:close/>
              </a:path>
              <a:path w="5459094" h="1839595">
                <a:moveTo>
                  <a:pt x="211780" y="1671347"/>
                </a:moveTo>
                <a:lnTo>
                  <a:pt x="1602453" y="708346"/>
                </a:lnTo>
                <a:lnTo>
                  <a:pt x="1822194" y="587077"/>
                </a:lnTo>
                <a:lnTo>
                  <a:pt x="1882638" y="545221"/>
                </a:lnTo>
                <a:lnTo>
                  <a:pt x="1934218" y="524951"/>
                </a:lnTo>
                <a:lnTo>
                  <a:pt x="456321" y="1548353"/>
                </a:lnTo>
                <a:lnTo>
                  <a:pt x="421059" y="1588218"/>
                </a:lnTo>
                <a:lnTo>
                  <a:pt x="335820" y="1647243"/>
                </a:lnTo>
                <a:lnTo>
                  <a:pt x="299941" y="1687536"/>
                </a:lnTo>
                <a:lnTo>
                  <a:pt x="213723" y="1747240"/>
                </a:lnTo>
                <a:lnTo>
                  <a:pt x="177845" y="1787532"/>
                </a:lnTo>
                <a:lnTo>
                  <a:pt x="102778" y="1839514"/>
                </a:lnTo>
                <a:lnTo>
                  <a:pt x="0" y="1833447"/>
                </a:lnTo>
                <a:lnTo>
                  <a:pt x="177277" y="1710687"/>
                </a:lnTo>
                <a:lnTo>
                  <a:pt x="211780" y="1671347"/>
                </a:lnTo>
                <a:close/>
              </a:path>
              <a:path w="5459094" h="1839595">
                <a:moveTo>
                  <a:pt x="1163454" y="1058683"/>
                </a:moveTo>
                <a:lnTo>
                  <a:pt x="1978349" y="494392"/>
                </a:lnTo>
                <a:lnTo>
                  <a:pt x="2029545" y="474387"/>
                </a:lnTo>
                <a:lnTo>
                  <a:pt x="1212772" y="1039980"/>
                </a:lnTo>
                <a:lnTo>
                  <a:pt x="1163454" y="1058683"/>
                </a:lnTo>
                <a:close/>
              </a:path>
              <a:path w="5459094" h="1839595">
                <a:moveTo>
                  <a:pt x="329323" y="1574504"/>
                </a:moveTo>
                <a:lnTo>
                  <a:pt x="1398780" y="833936"/>
                </a:lnTo>
                <a:lnTo>
                  <a:pt x="1430815" y="827200"/>
                </a:lnTo>
                <a:lnTo>
                  <a:pt x="294819" y="1613844"/>
                </a:lnTo>
                <a:lnTo>
                  <a:pt x="329323" y="1574504"/>
                </a:lnTo>
                <a:close/>
              </a:path>
              <a:path w="5459094" h="1839595">
                <a:moveTo>
                  <a:pt x="516307" y="1429575"/>
                </a:moveTo>
                <a:lnTo>
                  <a:pt x="948200" y="1130502"/>
                </a:lnTo>
                <a:lnTo>
                  <a:pt x="994965" y="1113566"/>
                </a:lnTo>
                <a:lnTo>
                  <a:pt x="484566" y="1467002"/>
                </a:lnTo>
                <a:lnTo>
                  <a:pt x="516307" y="1429575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5DA0CF88-2799-4F5A-B855-EA244645E370}"/>
              </a:ext>
            </a:extLst>
          </p:cNvPr>
          <p:cNvSpPr/>
          <p:nvPr/>
        </p:nvSpPr>
        <p:spPr>
          <a:xfrm>
            <a:off x="0" y="5159879"/>
            <a:ext cx="3572142" cy="1698121"/>
          </a:xfrm>
          <a:custGeom>
            <a:avLst/>
            <a:gdLst/>
            <a:ahLst/>
            <a:cxnLst/>
            <a:rect l="l" t="t" r="r" b="b"/>
            <a:pathLst>
              <a:path w="2562225" h="2379345">
                <a:moveTo>
                  <a:pt x="2383627" y="1078311"/>
                </a:moveTo>
                <a:lnTo>
                  <a:pt x="2213396" y="950884"/>
                </a:lnTo>
                <a:lnTo>
                  <a:pt x="2219223" y="952073"/>
                </a:lnTo>
                <a:lnTo>
                  <a:pt x="2243703" y="962466"/>
                </a:lnTo>
                <a:lnTo>
                  <a:pt x="2289182" y="988577"/>
                </a:lnTo>
                <a:lnTo>
                  <a:pt x="2340796" y="1027213"/>
                </a:lnTo>
                <a:lnTo>
                  <a:pt x="2383627" y="1078311"/>
                </a:lnTo>
                <a:close/>
              </a:path>
              <a:path w="2562225" h="2379345">
                <a:moveTo>
                  <a:pt x="1295338" y="1194889"/>
                </a:moveTo>
                <a:lnTo>
                  <a:pt x="1092700" y="1043204"/>
                </a:lnTo>
                <a:lnTo>
                  <a:pt x="1110229" y="1053153"/>
                </a:lnTo>
                <a:lnTo>
                  <a:pt x="1147526" y="1068380"/>
                </a:lnTo>
                <a:lnTo>
                  <a:pt x="1165845" y="1074161"/>
                </a:lnTo>
                <a:lnTo>
                  <a:pt x="1184961" y="1077365"/>
                </a:lnTo>
                <a:lnTo>
                  <a:pt x="1204030" y="1078948"/>
                </a:lnTo>
                <a:lnTo>
                  <a:pt x="1222973" y="1078850"/>
                </a:lnTo>
                <a:lnTo>
                  <a:pt x="1230537" y="1078167"/>
                </a:lnTo>
                <a:lnTo>
                  <a:pt x="1244143" y="1078833"/>
                </a:lnTo>
                <a:lnTo>
                  <a:pt x="1251707" y="1078149"/>
                </a:lnTo>
                <a:lnTo>
                  <a:pt x="1270103" y="1079229"/>
                </a:lnTo>
                <a:lnTo>
                  <a:pt x="1288973" y="1077490"/>
                </a:lnTo>
                <a:lnTo>
                  <a:pt x="1307797" y="1074130"/>
                </a:lnTo>
                <a:lnTo>
                  <a:pt x="1344268" y="1064943"/>
                </a:lnTo>
                <a:lnTo>
                  <a:pt x="1361961" y="1060737"/>
                </a:lnTo>
                <a:lnTo>
                  <a:pt x="1379378" y="1057911"/>
                </a:lnTo>
                <a:lnTo>
                  <a:pt x="1397521" y="1055628"/>
                </a:lnTo>
                <a:lnTo>
                  <a:pt x="1423202" y="1052641"/>
                </a:lnTo>
                <a:lnTo>
                  <a:pt x="1448755" y="1047973"/>
                </a:lnTo>
                <a:lnTo>
                  <a:pt x="1499805" y="1033835"/>
                </a:lnTo>
                <a:lnTo>
                  <a:pt x="1549417" y="1015449"/>
                </a:lnTo>
                <a:lnTo>
                  <a:pt x="1597531" y="994354"/>
                </a:lnTo>
                <a:lnTo>
                  <a:pt x="1645437" y="971517"/>
                </a:lnTo>
                <a:lnTo>
                  <a:pt x="1692905" y="949939"/>
                </a:lnTo>
                <a:lnTo>
                  <a:pt x="1707868" y="943689"/>
                </a:lnTo>
                <a:lnTo>
                  <a:pt x="1738878" y="930414"/>
                </a:lnTo>
                <a:lnTo>
                  <a:pt x="1753841" y="924165"/>
                </a:lnTo>
                <a:lnTo>
                  <a:pt x="1806712" y="901872"/>
                </a:lnTo>
                <a:lnTo>
                  <a:pt x="1860091" y="886305"/>
                </a:lnTo>
                <a:lnTo>
                  <a:pt x="1915177" y="875188"/>
                </a:lnTo>
                <a:lnTo>
                  <a:pt x="1970884" y="869296"/>
                </a:lnTo>
                <a:lnTo>
                  <a:pt x="1991758" y="869057"/>
                </a:lnTo>
                <a:lnTo>
                  <a:pt x="2013439" y="869422"/>
                </a:lnTo>
                <a:lnTo>
                  <a:pt x="2056063" y="877532"/>
                </a:lnTo>
                <a:lnTo>
                  <a:pt x="2196839" y="935318"/>
                </a:lnTo>
                <a:lnTo>
                  <a:pt x="2200382" y="939557"/>
                </a:lnTo>
                <a:lnTo>
                  <a:pt x="2208991" y="946001"/>
                </a:lnTo>
                <a:lnTo>
                  <a:pt x="2213396" y="950884"/>
                </a:lnTo>
                <a:lnTo>
                  <a:pt x="2383627" y="1078311"/>
                </a:lnTo>
                <a:lnTo>
                  <a:pt x="2400732" y="1100632"/>
                </a:lnTo>
                <a:lnTo>
                  <a:pt x="2410021" y="1117104"/>
                </a:lnTo>
                <a:lnTo>
                  <a:pt x="2413864" y="1126326"/>
                </a:lnTo>
                <a:lnTo>
                  <a:pt x="2418168" y="1129548"/>
                </a:lnTo>
                <a:lnTo>
                  <a:pt x="2448076" y="1175732"/>
                </a:lnTo>
                <a:lnTo>
                  <a:pt x="2471596" y="1225065"/>
                </a:lnTo>
                <a:lnTo>
                  <a:pt x="2486722" y="1268116"/>
                </a:lnTo>
                <a:lnTo>
                  <a:pt x="2494930" y="1312333"/>
                </a:lnTo>
                <a:lnTo>
                  <a:pt x="2496420" y="1327726"/>
                </a:lnTo>
                <a:lnTo>
                  <a:pt x="2498234" y="1343361"/>
                </a:lnTo>
                <a:lnTo>
                  <a:pt x="2502538" y="1357688"/>
                </a:lnTo>
                <a:lnTo>
                  <a:pt x="2509978" y="1371189"/>
                </a:lnTo>
                <a:lnTo>
                  <a:pt x="2330047" y="1236503"/>
                </a:lnTo>
                <a:lnTo>
                  <a:pt x="2244471" y="1177204"/>
                </a:lnTo>
                <a:lnTo>
                  <a:pt x="2198314" y="1148999"/>
                </a:lnTo>
                <a:lnTo>
                  <a:pt x="2163697" y="1132605"/>
                </a:lnTo>
                <a:lnTo>
                  <a:pt x="2145789" y="1125545"/>
                </a:lnTo>
                <a:lnTo>
                  <a:pt x="2127248" y="1118012"/>
                </a:lnTo>
                <a:lnTo>
                  <a:pt x="2069343" y="1098463"/>
                </a:lnTo>
                <a:lnTo>
                  <a:pt x="2059454" y="1094234"/>
                </a:lnTo>
                <a:lnTo>
                  <a:pt x="2048965" y="1091142"/>
                </a:lnTo>
                <a:lnTo>
                  <a:pt x="2038799" y="1088291"/>
                </a:lnTo>
                <a:lnTo>
                  <a:pt x="2028357" y="1086820"/>
                </a:lnTo>
                <a:lnTo>
                  <a:pt x="1956776" y="1080830"/>
                </a:lnTo>
                <a:lnTo>
                  <a:pt x="1920830" y="1079305"/>
                </a:lnTo>
                <a:lnTo>
                  <a:pt x="1884849" y="1079341"/>
                </a:lnTo>
                <a:lnTo>
                  <a:pt x="1844224" y="1082245"/>
                </a:lnTo>
                <a:lnTo>
                  <a:pt x="1804013" y="1088632"/>
                </a:lnTo>
                <a:lnTo>
                  <a:pt x="1758531" y="1099006"/>
                </a:lnTo>
                <a:lnTo>
                  <a:pt x="1713821" y="1111544"/>
                </a:lnTo>
                <a:lnTo>
                  <a:pt x="1603696" y="1146503"/>
                </a:lnTo>
                <a:lnTo>
                  <a:pt x="1593459" y="1149945"/>
                </a:lnTo>
                <a:lnTo>
                  <a:pt x="1584225" y="1152551"/>
                </a:lnTo>
                <a:lnTo>
                  <a:pt x="1561698" y="1159485"/>
                </a:lnTo>
                <a:lnTo>
                  <a:pt x="1515560" y="1174127"/>
                </a:lnTo>
                <a:lnTo>
                  <a:pt x="1493033" y="1181060"/>
                </a:lnTo>
                <a:lnTo>
                  <a:pt x="1441351" y="1194725"/>
                </a:lnTo>
                <a:lnTo>
                  <a:pt x="1389681" y="1200466"/>
                </a:lnTo>
                <a:lnTo>
                  <a:pt x="1336905" y="1200620"/>
                </a:lnTo>
                <a:lnTo>
                  <a:pt x="1295338" y="1194889"/>
                </a:lnTo>
                <a:close/>
              </a:path>
              <a:path w="2562225" h="2379345">
                <a:moveTo>
                  <a:pt x="2309250" y="2379002"/>
                </a:moveTo>
                <a:lnTo>
                  <a:pt x="2316007" y="2358677"/>
                </a:lnTo>
                <a:lnTo>
                  <a:pt x="2323550" y="2337355"/>
                </a:lnTo>
                <a:lnTo>
                  <a:pt x="2331659" y="2316456"/>
                </a:lnTo>
                <a:lnTo>
                  <a:pt x="2338359" y="2299262"/>
                </a:lnTo>
                <a:lnTo>
                  <a:pt x="2344459" y="2283205"/>
                </a:lnTo>
                <a:lnTo>
                  <a:pt x="2351966" y="2266615"/>
                </a:lnTo>
                <a:lnTo>
                  <a:pt x="2360603" y="2250871"/>
                </a:lnTo>
                <a:lnTo>
                  <a:pt x="2375742" y="2222543"/>
                </a:lnTo>
                <a:lnTo>
                  <a:pt x="2387341" y="2194738"/>
                </a:lnTo>
                <a:lnTo>
                  <a:pt x="2398571" y="2165071"/>
                </a:lnTo>
                <a:lnTo>
                  <a:pt x="2408798" y="2136240"/>
                </a:lnTo>
                <a:lnTo>
                  <a:pt x="2422045" y="2100150"/>
                </a:lnTo>
                <a:lnTo>
                  <a:pt x="2458439" y="1990963"/>
                </a:lnTo>
                <a:lnTo>
                  <a:pt x="2475507" y="1924420"/>
                </a:lnTo>
                <a:lnTo>
                  <a:pt x="2487295" y="1855510"/>
                </a:lnTo>
                <a:lnTo>
                  <a:pt x="2489127" y="1842604"/>
                </a:lnTo>
                <a:lnTo>
                  <a:pt x="2491201" y="1829879"/>
                </a:lnTo>
                <a:lnTo>
                  <a:pt x="2495753" y="1804731"/>
                </a:lnTo>
                <a:lnTo>
                  <a:pt x="2497636" y="1795036"/>
                </a:lnTo>
                <a:lnTo>
                  <a:pt x="2497337" y="1790052"/>
                </a:lnTo>
                <a:lnTo>
                  <a:pt x="2494564" y="1768941"/>
                </a:lnTo>
                <a:lnTo>
                  <a:pt x="2494848" y="1746943"/>
                </a:lnTo>
                <a:lnTo>
                  <a:pt x="2495939" y="1725550"/>
                </a:lnTo>
                <a:lnTo>
                  <a:pt x="2497110" y="1704218"/>
                </a:lnTo>
                <a:lnTo>
                  <a:pt x="2497700" y="1666586"/>
                </a:lnTo>
                <a:lnTo>
                  <a:pt x="2491200" y="1593505"/>
                </a:lnTo>
                <a:lnTo>
                  <a:pt x="2482684" y="1526848"/>
                </a:lnTo>
                <a:lnTo>
                  <a:pt x="2470952" y="1468888"/>
                </a:lnTo>
                <a:lnTo>
                  <a:pt x="2457327" y="1425375"/>
                </a:lnTo>
                <a:lnTo>
                  <a:pt x="2456828" y="1417069"/>
                </a:lnTo>
                <a:lnTo>
                  <a:pt x="2438618" y="1366951"/>
                </a:lnTo>
                <a:lnTo>
                  <a:pt x="2398181" y="1306541"/>
                </a:lnTo>
                <a:lnTo>
                  <a:pt x="2362201" y="1265330"/>
                </a:lnTo>
                <a:lnTo>
                  <a:pt x="2338576" y="1242886"/>
                </a:lnTo>
                <a:lnTo>
                  <a:pt x="2509978" y="1371189"/>
                </a:lnTo>
                <a:lnTo>
                  <a:pt x="2514770" y="1390640"/>
                </a:lnTo>
                <a:lnTo>
                  <a:pt x="2519723" y="1410212"/>
                </a:lnTo>
                <a:lnTo>
                  <a:pt x="2523915" y="1430800"/>
                </a:lnTo>
                <a:lnTo>
                  <a:pt x="2528707" y="1450251"/>
                </a:lnTo>
                <a:lnTo>
                  <a:pt x="2530648" y="1467567"/>
                </a:lnTo>
                <a:lnTo>
                  <a:pt x="2535727" y="1499925"/>
                </a:lnTo>
                <a:lnTo>
                  <a:pt x="2537667" y="1517241"/>
                </a:lnTo>
                <a:lnTo>
                  <a:pt x="2539650" y="1531416"/>
                </a:lnTo>
                <a:lnTo>
                  <a:pt x="2540520" y="1538413"/>
                </a:lnTo>
                <a:lnTo>
                  <a:pt x="2540987" y="1545108"/>
                </a:lnTo>
                <a:lnTo>
                  <a:pt x="2543164" y="1580052"/>
                </a:lnTo>
                <a:lnTo>
                  <a:pt x="2547994" y="1613809"/>
                </a:lnTo>
                <a:lnTo>
                  <a:pt x="2559106" y="1682410"/>
                </a:lnTo>
                <a:lnTo>
                  <a:pt x="2560687" y="1693112"/>
                </a:lnTo>
                <a:lnTo>
                  <a:pt x="2561704" y="1703391"/>
                </a:lnTo>
                <a:lnTo>
                  <a:pt x="2561474" y="1714324"/>
                </a:lnTo>
                <a:lnTo>
                  <a:pt x="2560842" y="1724955"/>
                </a:lnTo>
                <a:lnTo>
                  <a:pt x="2558358" y="1746892"/>
                </a:lnTo>
                <a:lnTo>
                  <a:pt x="2557295" y="1757201"/>
                </a:lnTo>
                <a:lnTo>
                  <a:pt x="2555228" y="1768345"/>
                </a:lnTo>
                <a:lnTo>
                  <a:pt x="2548391" y="1810818"/>
                </a:lnTo>
                <a:lnTo>
                  <a:pt x="2541311" y="1853111"/>
                </a:lnTo>
                <a:lnTo>
                  <a:pt x="2526748" y="1937393"/>
                </a:lnTo>
                <a:lnTo>
                  <a:pt x="2523296" y="1958605"/>
                </a:lnTo>
                <a:lnTo>
                  <a:pt x="2520866" y="1969477"/>
                </a:lnTo>
                <a:lnTo>
                  <a:pt x="2517791" y="1979867"/>
                </a:lnTo>
                <a:lnTo>
                  <a:pt x="2503251" y="2029266"/>
                </a:lnTo>
                <a:lnTo>
                  <a:pt x="2488469" y="2078483"/>
                </a:lnTo>
                <a:lnTo>
                  <a:pt x="2472556" y="2126855"/>
                </a:lnTo>
                <a:lnTo>
                  <a:pt x="2453865" y="2174734"/>
                </a:lnTo>
                <a:lnTo>
                  <a:pt x="2437583" y="2213310"/>
                </a:lnTo>
                <a:lnTo>
                  <a:pt x="2420654" y="2251403"/>
                </a:lnTo>
                <a:lnTo>
                  <a:pt x="2402319" y="2290029"/>
                </a:lnTo>
                <a:lnTo>
                  <a:pt x="2384099" y="2327155"/>
                </a:lnTo>
                <a:lnTo>
                  <a:pt x="2372860" y="2350470"/>
                </a:lnTo>
                <a:lnTo>
                  <a:pt x="2362912" y="2374751"/>
                </a:lnTo>
                <a:lnTo>
                  <a:pt x="2361478" y="2378437"/>
                </a:lnTo>
                <a:lnTo>
                  <a:pt x="2309250" y="2379002"/>
                </a:lnTo>
                <a:close/>
              </a:path>
              <a:path w="2562225" h="2379345">
                <a:moveTo>
                  <a:pt x="631740" y="606143"/>
                </a:moveTo>
                <a:lnTo>
                  <a:pt x="428110" y="453717"/>
                </a:lnTo>
                <a:lnTo>
                  <a:pt x="443036" y="463304"/>
                </a:lnTo>
                <a:lnTo>
                  <a:pt x="458561" y="471752"/>
                </a:lnTo>
                <a:lnTo>
                  <a:pt x="488183" y="482820"/>
                </a:lnTo>
                <a:lnTo>
                  <a:pt x="511647" y="494039"/>
                </a:lnTo>
                <a:lnTo>
                  <a:pt x="523102" y="501027"/>
                </a:lnTo>
                <a:lnTo>
                  <a:pt x="532243" y="506283"/>
                </a:lnTo>
                <a:lnTo>
                  <a:pt x="551725" y="514521"/>
                </a:lnTo>
                <a:lnTo>
                  <a:pt x="561905" y="517382"/>
                </a:lnTo>
                <a:lnTo>
                  <a:pt x="607461" y="527687"/>
                </a:lnTo>
                <a:lnTo>
                  <a:pt x="621993" y="532219"/>
                </a:lnTo>
                <a:lnTo>
                  <a:pt x="656042" y="543429"/>
                </a:lnTo>
                <a:lnTo>
                  <a:pt x="759849" y="568782"/>
                </a:lnTo>
                <a:lnTo>
                  <a:pt x="778413" y="571573"/>
                </a:lnTo>
                <a:lnTo>
                  <a:pt x="795570" y="574898"/>
                </a:lnTo>
                <a:lnTo>
                  <a:pt x="813604" y="575706"/>
                </a:lnTo>
                <a:lnTo>
                  <a:pt x="830991" y="576030"/>
                </a:lnTo>
                <a:lnTo>
                  <a:pt x="839336" y="575931"/>
                </a:lnTo>
                <a:lnTo>
                  <a:pt x="845558" y="579002"/>
                </a:lnTo>
                <a:lnTo>
                  <a:pt x="850258" y="584107"/>
                </a:lnTo>
                <a:lnTo>
                  <a:pt x="853275" y="591124"/>
                </a:lnTo>
                <a:lnTo>
                  <a:pt x="857455" y="600598"/>
                </a:lnTo>
                <a:lnTo>
                  <a:pt x="860954" y="611149"/>
                </a:lnTo>
                <a:lnTo>
                  <a:pt x="864291" y="621580"/>
                </a:lnTo>
                <a:lnTo>
                  <a:pt x="867225" y="631708"/>
                </a:lnTo>
                <a:lnTo>
                  <a:pt x="872955" y="658206"/>
                </a:lnTo>
                <a:lnTo>
                  <a:pt x="828160" y="624676"/>
                </a:lnTo>
                <a:lnTo>
                  <a:pt x="806170" y="624079"/>
                </a:lnTo>
                <a:lnTo>
                  <a:pt x="785828" y="623129"/>
                </a:lnTo>
                <a:lnTo>
                  <a:pt x="766294" y="622785"/>
                </a:lnTo>
                <a:lnTo>
                  <a:pt x="748247" y="621967"/>
                </a:lnTo>
                <a:lnTo>
                  <a:pt x="713471" y="621318"/>
                </a:lnTo>
                <a:lnTo>
                  <a:pt x="678926" y="617669"/>
                </a:lnTo>
                <a:lnTo>
                  <a:pt x="645373" y="610003"/>
                </a:lnTo>
                <a:lnTo>
                  <a:pt x="631740" y="606143"/>
                </a:lnTo>
                <a:close/>
              </a:path>
              <a:path w="2562225" h="2379345">
                <a:moveTo>
                  <a:pt x="216272" y="452199"/>
                </a:moveTo>
                <a:lnTo>
                  <a:pt x="183034" y="424147"/>
                </a:lnTo>
                <a:lnTo>
                  <a:pt x="145078" y="389389"/>
                </a:lnTo>
                <a:lnTo>
                  <a:pt x="110811" y="351048"/>
                </a:lnTo>
                <a:lnTo>
                  <a:pt x="78712" y="311156"/>
                </a:lnTo>
                <a:lnTo>
                  <a:pt x="50303" y="267681"/>
                </a:lnTo>
                <a:lnTo>
                  <a:pt x="43695" y="257975"/>
                </a:lnTo>
                <a:lnTo>
                  <a:pt x="32646" y="237013"/>
                </a:lnTo>
                <a:lnTo>
                  <a:pt x="4349" y="176172"/>
                </a:lnTo>
                <a:lnTo>
                  <a:pt x="79" y="166630"/>
                </a:lnTo>
                <a:lnTo>
                  <a:pt x="0" y="0"/>
                </a:lnTo>
                <a:lnTo>
                  <a:pt x="9835" y="18466"/>
                </a:lnTo>
                <a:lnTo>
                  <a:pt x="16508" y="31394"/>
                </a:lnTo>
                <a:lnTo>
                  <a:pt x="24185" y="43486"/>
                </a:lnTo>
                <a:lnTo>
                  <a:pt x="41465" y="65939"/>
                </a:lnTo>
                <a:lnTo>
                  <a:pt x="60877" y="88402"/>
                </a:lnTo>
                <a:lnTo>
                  <a:pt x="79367" y="111761"/>
                </a:lnTo>
                <a:lnTo>
                  <a:pt x="96773" y="135895"/>
                </a:lnTo>
                <a:lnTo>
                  <a:pt x="112934" y="160683"/>
                </a:lnTo>
                <a:lnTo>
                  <a:pt x="147523" y="210370"/>
                </a:lnTo>
                <a:lnTo>
                  <a:pt x="158076" y="227788"/>
                </a:lnTo>
                <a:lnTo>
                  <a:pt x="161819" y="235349"/>
                </a:lnTo>
                <a:lnTo>
                  <a:pt x="167846" y="239860"/>
                </a:lnTo>
                <a:lnTo>
                  <a:pt x="173972" y="246033"/>
                </a:lnTo>
                <a:lnTo>
                  <a:pt x="208192" y="282753"/>
                </a:lnTo>
                <a:lnTo>
                  <a:pt x="245019" y="316665"/>
                </a:lnTo>
                <a:lnTo>
                  <a:pt x="282930" y="349802"/>
                </a:lnTo>
                <a:lnTo>
                  <a:pt x="621515" y="603249"/>
                </a:lnTo>
                <a:lnTo>
                  <a:pt x="570303" y="588710"/>
                </a:lnTo>
                <a:lnTo>
                  <a:pt x="478228" y="568966"/>
                </a:lnTo>
                <a:lnTo>
                  <a:pt x="430056" y="555117"/>
                </a:lnTo>
                <a:lnTo>
                  <a:pt x="382600" y="538630"/>
                </a:lnTo>
                <a:lnTo>
                  <a:pt x="336700" y="518549"/>
                </a:lnTo>
                <a:lnTo>
                  <a:pt x="293162" y="498650"/>
                </a:lnTo>
                <a:lnTo>
                  <a:pt x="251907" y="475701"/>
                </a:lnTo>
                <a:lnTo>
                  <a:pt x="216272" y="452199"/>
                </a:lnTo>
                <a:close/>
              </a:path>
              <a:path w="2562225" h="2379345">
                <a:moveTo>
                  <a:pt x="1074398" y="1091374"/>
                </a:moveTo>
                <a:lnTo>
                  <a:pt x="1031874" y="1054783"/>
                </a:lnTo>
                <a:lnTo>
                  <a:pt x="992151" y="1013944"/>
                </a:lnTo>
                <a:lnTo>
                  <a:pt x="952097" y="966511"/>
                </a:lnTo>
                <a:lnTo>
                  <a:pt x="917139" y="914961"/>
                </a:lnTo>
                <a:lnTo>
                  <a:pt x="909502" y="902900"/>
                </a:lnTo>
                <a:lnTo>
                  <a:pt x="878015" y="812701"/>
                </a:lnTo>
                <a:lnTo>
                  <a:pt x="863452" y="762141"/>
                </a:lnTo>
                <a:lnTo>
                  <a:pt x="850135" y="710926"/>
                </a:lnTo>
                <a:lnTo>
                  <a:pt x="838467" y="659359"/>
                </a:lnTo>
                <a:lnTo>
                  <a:pt x="833902" y="643251"/>
                </a:lnTo>
                <a:lnTo>
                  <a:pt x="831014" y="634743"/>
                </a:lnTo>
                <a:lnTo>
                  <a:pt x="828160" y="624676"/>
                </a:lnTo>
                <a:lnTo>
                  <a:pt x="872955" y="658206"/>
                </a:lnTo>
                <a:lnTo>
                  <a:pt x="873773" y="661992"/>
                </a:lnTo>
                <a:lnTo>
                  <a:pt x="879560" y="693292"/>
                </a:lnTo>
                <a:lnTo>
                  <a:pt x="886108" y="723576"/>
                </a:lnTo>
                <a:lnTo>
                  <a:pt x="907020" y="809031"/>
                </a:lnTo>
                <a:lnTo>
                  <a:pt x="928857" y="860277"/>
                </a:lnTo>
                <a:lnTo>
                  <a:pt x="958165" y="907598"/>
                </a:lnTo>
                <a:lnTo>
                  <a:pt x="1004515" y="959743"/>
                </a:lnTo>
                <a:lnTo>
                  <a:pt x="1022894" y="978260"/>
                </a:lnTo>
                <a:lnTo>
                  <a:pt x="1031702" y="988026"/>
                </a:lnTo>
                <a:lnTo>
                  <a:pt x="1042448" y="999243"/>
                </a:lnTo>
                <a:lnTo>
                  <a:pt x="1065462" y="1019643"/>
                </a:lnTo>
                <a:lnTo>
                  <a:pt x="1083227" y="1032941"/>
                </a:lnTo>
                <a:lnTo>
                  <a:pt x="1092700" y="1043204"/>
                </a:lnTo>
                <a:lnTo>
                  <a:pt x="1295338" y="1194889"/>
                </a:lnTo>
                <a:lnTo>
                  <a:pt x="1284947" y="1193456"/>
                </a:lnTo>
                <a:lnTo>
                  <a:pt x="1254428" y="1186475"/>
                </a:lnTo>
                <a:lnTo>
                  <a:pt x="1196343" y="1165205"/>
                </a:lnTo>
                <a:lnTo>
                  <a:pt x="1119806" y="1123777"/>
                </a:lnTo>
                <a:lnTo>
                  <a:pt x="1074398" y="1091374"/>
                </a:lnTo>
                <a:close/>
              </a:path>
              <a:path w="2562225" h="2379345">
                <a:moveTo>
                  <a:pt x="621515" y="603249"/>
                </a:moveTo>
                <a:lnTo>
                  <a:pt x="282930" y="349802"/>
                </a:lnTo>
                <a:lnTo>
                  <a:pt x="324207" y="379114"/>
                </a:lnTo>
                <a:lnTo>
                  <a:pt x="403872" y="432401"/>
                </a:lnTo>
                <a:lnTo>
                  <a:pt x="411621" y="438201"/>
                </a:lnTo>
                <a:lnTo>
                  <a:pt x="414303" y="441796"/>
                </a:lnTo>
                <a:lnTo>
                  <a:pt x="428110" y="453717"/>
                </a:lnTo>
                <a:lnTo>
                  <a:pt x="631740" y="606143"/>
                </a:lnTo>
                <a:lnTo>
                  <a:pt x="621515" y="603249"/>
                </a:lnTo>
                <a:close/>
              </a:path>
              <a:path w="2562225" h="2379345">
                <a:moveTo>
                  <a:pt x="1083227" y="1032941"/>
                </a:moveTo>
                <a:lnTo>
                  <a:pt x="1065462" y="1019643"/>
                </a:lnTo>
                <a:lnTo>
                  <a:pt x="1078491" y="1027809"/>
                </a:lnTo>
                <a:lnTo>
                  <a:pt x="1083227" y="1032941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7E2868E-3B63-4D88-90A3-BDC751DD26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592" y="6372705"/>
            <a:ext cx="2856009" cy="51501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AA65C3E-8ECB-4531-A90F-1519ABD524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5850" y="5934867"/>
            <a:ext cx="3486150" cy="1009672"/>
          </a:xfrm>
          <a:prstGeom prst="rect">
            <a:avLst/>
          </a:prstGeom>
        </p:spPr>
      </p:pic>
      <p:sp>
        <p:nvSpPr>
          <p:cNvPr id="14" name="Rectangle 64">
            <a:extLst>
              <a:ext uri="{FF2B5EF4-FFF2-40B4-BE49-F238E27FC236}">
                <a16:creationId xmlns:a16="http://schemas.microsoft.com/office/drawing/2014/main" id="{73D16C78-6400-4E2F-8002-EF43E30CEBEC}"/>
              </a:ext>
            </a:extLst>
          </p:cNvPr>
          <p:cNvSpPr/>
          <p:nvPr/>
        </p:nvSpPr>
        <p:spPr>
          <a:xfrm>
            <a:off x="-15202" y="-20663"/>
            <a:ext cx="12199601" cy="6878663"/>
          </a:xfrm>
          <a:prstGeom prst="rect">
            <a:avLst/>
          </a:prstGeom>
          <a:solidFill>
            <a:schemeClr val="bg2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0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FA245C0-151B-481D-BFAF-236D35D69FF3}"/>
              </a:ext>
            </a:extLst>
          </p:cNvPr>
          <p:cNvSpPr txBox="1"/>
          <p:nvPr/>
        </p:nvSpPr>
        <p:spPr>
          <a:xfrm>
            <a:off x="3207521" y="0"/>
            <a:ext cx="577695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>
                <a:solidFill>
                  <a:schemeClr val="bg2">
                    <a:lumMod val="10000"/>
                  </a:schemeClr>
                </a:solidFill>
              </a:rPr>
              <a:t>Программный продукт</a:t>
            </a:r>
          </a:p>
          <a:p>
            <a:endParaRPr lang="ru-RU" b="1" dirty="0"/>
          </a:p>
        </p:txBody>
      </p:sp>
      <p:pic>
        <p:nvPicPr>
          <p:cNvPr id="12" name="image10.png">
            <a:extLst>
              <a:ext uri="{FF2B5EF4-FFF2-40B4-BE49-F238E27FC236}">
                <a16:creationId xmlns:a16="http://schemas.microsoft.com/office/drawing/2014/main" id="{2E197B71-97E4-4C29-9C65-65FB09FB1F1F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228744" y="1046440"/>
            <a:ext cx="3734512" cy="2505482"/>
          </a:xfrm>
          <a:prstGeom prst="rect">
            <a:avLst/>
          </a:prstGeom>
          <a:ln/>
        </p:spPr>
      </p:pic>
      <p:pic>
        <p:nvPicPr>
          <p:cNvPr id="13" name="image6.png">
            <a:extLst>
              <a:ext uri="{FF2B5EF4-FFF2-40B4-BE49-F238E27FC236}">
                <a16:creationId xmlns:a16="http://schemas.microsoft.com/office/drawing/2014/main" id="{EB84E11E-C635-400D-9F94-98B56F919211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494231" y="3909131"/>
            <a:ext cx="3734513" cy="2519444"/>
          </a:xfrm>
          <a:prstGeom prst="rect">
            <a:avLst/>
          </a:prstGeom>
          <a:ln/>
        </p:spPr>
      </p:pic>
      <p:pic>
        <p:nvPicPr>
          <p:cNvPr id="14" name="image9.png">
            <a:extLst>
              <a:ext uri="{FF2B5EF4-FFF2-40B4-BE49-F238E27FC236}">
                <a16:creationId xmlns:a16="http://schemas.microsoft.com/office/drawing/2014/main" id="{BB7FDDD4-E6D5-45C1-80BA-0F99AE781DBC}"/>
              </a:ext>
            </a:extLst>
          </p:cNvPr>
          <p:cNvPicPr/>
          <p:nvPr/>
        </p:nvPicPr>
        <p:blipFill>
          <a:blip r:embed="rId4"/>
          <a:srcRect b="2744"/>
          <a:stretch>
            <a:fillRect/>
          </a:stretch>
        </p:blipFill>
        <p:spPr>
          <a:xfrm>
            <a:off x="7963256" y="3909131"/>
            <a:ext cx="3734512" cy="2519444"/>
          </a:xfrm>
          <a:prstGeom prst="rect">
            <a:avLst/>
          </a:prstGeom>
          <a:ln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533D4CA-8283-4685-9308-F6F4601798E5}"/>
              </a:ext>
            </a:extLst>
          </p:cNvPr>
          <p:cNvSpPr txBox="1"/>
          <p:nvPr/>
        </p:nvSpPr>
        <p:spPr>
          <a:xfrm>
            <a:off x="5205704" y="3545861"/>
            <a:ext cx="2003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2">
                    <a:lumMod val="10000"/>
                  </a:schemeClr>
                </a:solidFill>
              </a:rPr>
              <a:t>Окно авторизаци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41E87E-821A-4D65-AE96-366CAAB963F7}"/>
              </a:ext>
            </a:extLst>
          </p:cNvPr>
          <p:cNvSpPr txBox="1"/>
          <p:nvPr/>
        </p:nvSpPr>
        <p:spPr>
          <a:xfrm>
            <a:off x="1494275" y="3545861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2">
                    <a:lumMod val="10000"/>
                  </a:schemeClr>
                </a:solidFill>
              </a:rPr>
              <a:t>Окно регистраци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7DDD97-55C7-4488-9A3B-FE72CF3690DD}"/>
              </a:ext>
            </a:extLst>
          </p:cNvPr>
          <p:cNvSpPr txBox="1"/>
          <p:nvPr/>
        </p:nvSpPr>
        <p:spPr>
          <a:xfrm>
            <a:off x="8544326" y="3545861"/>
            <a:ext cx="2572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2">
                    <a:lumMod val="10000"/>
                  </a:schemeClr>
                </a:solidFill>
              </a:rPr>
              <a:t>Окно вывода результат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124C589-BB8B-4746-87D2-B1591C5BFB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1" y="6428575"/>
            <a:ext cx="2493949" cy="42942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43FFADE-C63B-4786-80E8-381A45DA12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9850" y="6442388"/>
            <a:ext cx="1962150" cy="42942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F954314-D446-43EA-93C6-BF95680EDB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11030265" y="5696262"/>
            <a:ext cx="1829244" cy="494232"/>
          </a:xfrm>
          <a:prstGeom prst="rect">
            <a:avLst/>
          </a:prstGeom>
        </p:spPr>
      </p:pic>
      <p:sp>
        <p:nvSpPr>
          <p:cNvPr id="21" name="Rectangle 64">
            <a:extLst>
              <a:ext uri="{FF2B5EF4-FFF2-40B4-BE49-F238E27FC236}">
                <a16:creationId xmlns:a16="http://schemas.microsoft.com/office/drawing/2014/main" id="{D095F2FF-83AD-40EC-B641-1E6437EF543F}"/>
              </a:ext>
            </a:extLst>
          </p:cNvPr>
          <p:cNvSpPr/>
          <p:nvPr/>
        </p:nvSpPr>
        <p:spPr>
          <a:xfrm>
            <a:off x="-15202" y="-20663"/>
            <a:ext cx="12199601" cy="6878663"/>
          </a:xfrm>
          <a:prstGeom prst="rect">
            <a:avLst/>
          </a:prstGeom>
          <a:solidFill>
            <a:schemeClr val="bg2">
              <a:lumMod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58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522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up Of Coffee - 3595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12A04B-8646-4A99-91FE-785BB21F94B5}"/>
              </a:ext>
            </a:extLst>
          </p:cNvPr>
          <p:cNvSpPr txBox="1"/>
          <p:nvPr/>
        </p:nvSpPr>
        <p:spPr>
          <a:xfrm>
            <a:off x="4499697" y="249951"/>
            <a:ext cx="31926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chemeClr val="bg1"/>
                </a:solidFill>
              </a:rPr>
              <a:t>ЗАКЛЮЧЕ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6ABF606-4861-4594-9B97-087C22AC0FE3}"/>
              </a:ext>
            </a:extLst>
          </p:cNvPr>
          <p:cNvSpPr/>
          <p:nvPr/>
        </p:nvSpPr>
        <p:spPr>
          <a:xfrm>
            <a:off x="2068082" y="2582615"/>
            <a:ext cx="810995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Со временем прохождения практики я ознакомилась с деятельностью организации «ЦОПП». Я изучила  основную информацию о деятельности данной компании, о проектах, выполняемых мною во время прохождения стажировки, а также благодаря хорошим специалистам и их курсам я изучила новую отрасль своей </a:t>
            </a:r>
            <a:r>
              <a:rPr lang="ru-RU" sz="2400" dirty="0" err="1">
                <a:solidFill>
                  <a:schemeClr val="bg1"/>
                </a:solidFill>
              </a:rPr>
              <a:t>проффесии</a:t>
            </a:r>
            <a:r>
              <a:rPr lang="ru-RU" sz="2400" dirty="0">
                <a:solidFill>
                  <a:schemeClr val="bg1"/>
                </a:solidFill>
              </a:rPr>
              <a:t>.</a:t>
            </a:r>
            <a:endParaRPr lang="ru-RU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781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94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25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365760" y="1195417"/>
            <a:ext cx="12923520" cy="4003618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59606" y="2682122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ru-RU" sz="6000" dirty="0">
                <a:solidFill>
                  <a:schemeClr val="bg1">
                    <a:lumMod val="65000"/>
                  </a:schemeClr>
                </a:solidFill>
                <a:latin typeface="Gabriela" panose="00000500000000000000" pitchFamily="2" charset="0"/>
              </a:rPr>
              <a:t>Спасибо за внимание!</a:t>
            </a:r>
            <a:endParaRPr lang="en-US" sz="6000" dirty="0">
              <a:solidFill>
                <a:schemeClr val="bg1">
                  <a:lumMod val="65000"/>
                </a:schemeClr>
              </a:solidFill>
              <a:latin typeface="Gabriela" panose="00000500000000000000" pitchFamily="2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1025987" y="3775979"/>
            <a:ext cx="486562" cy="311547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49B1091-A39B-458D-A2C9-E22FB4C6C4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7862" y="3752066"/>
            <a:ext cx="2200275" cy="33337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DC4DED2-8EC6-4FF1-83D4-8F3BA9D9AC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7861" y="4045295"/>
            <a:ext cx="2200275" cy="92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82</TotalTime>
  <Words>113</Words>
  <Application>Microsoft Office PowerPoint</Application>
  <PresentationFormat>Широкоэкранный</PresentationFormat>
  <Paragraphs>20</Paragraphs>
  <Slides>9</Slides>
  <Notes>2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Gabriela</vt:lpstr>
      <vt:lpstr>Montserrat</vt:lpstr>
      <vt:lpstr>Montserrat Light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Женя Дёмина</cp:lastModifiedBy>
  <cp:revision>190</cp:revision>
  <dcterms:created xsi:type="dcterms:W3CDTF">2017-06-30T07:56:32Z</dcterms:created>
  <dcterms:modified xsi:type="dcterms:W3CDTF">2022-06-24T20:18:36Z</dcterms:modified>
</cp:coreProperties>
</file>